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52" r:id="rId1"/>
  </p:sldMasterIdLst>
  <p:notesMasterIdLst>
    <p:notesMasterId r:id="rId24"/>
  </p:notesMasterIdLst>
  <p:sldIdLst>
    <p:sldId id="10900" r:id="rId2"/>
    <p:sldId id="10912" r:id="rId3"/>
    <p:sldId id="10924" r:id="rId4"/>
    <p:sldId id="10931" r:id="rId5"/>
    <p:sldId id="10935" r:id="rId6"/>
    <p:sldId id="10909" r:id="rId7"/>
    <p:sldId id="10910" r:id="rId8"/>
    <p:sldId id="10897" r:id="rId9"/>
    <p:sldId id="10932" r:id="rId10"/>
    <p:sldId id="10934" r:id="rId11"/>
    <p:sldId id="10895" r:id="rId12"/>
    <p:sldId id="10933" r:id="rId13"/>
    <p:sldId id="10936" r:id="rId14"/>
    <p:sldId id="10886" r:id="rId15"/>
    <p:sldId id="10928" r:id="rId16"/>
    <p:sldId id="10893" r:id="rId17"/>
    <p:sldId id="10930" r:id="rId18"/>
    <p:sldId id="10929" r:id="rId19"/>
    <p:sldId id="10899" r:id="rId20"/>
    <p:sldId id="10925" r:id="rId21"/>
    <p:sldId id="10908" r:id="rId22"/>
    <p:sldId id="260" r:id="rId23"/>
  </p:sldIdLst>
  <p:sldSz cx="12192000" cy="6858000"/>
  <p:notesSz cx="6662738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na Ángel Poyatos León" initials="JÁPL" lastIdx="18" clrIdx="0"/>
  <p:cmAuthor id="2" name="Juan Angel" initials="JAP" lastIdx="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1B41"/>
    <a:srgbClr val="FFC5CF"/>
    <a:srgbClr val="F2750E"/>
    <a:srgbClr val="FFCC66"/>
    <a:srgbClr val="FD61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16" autoAdjust="0"/>
    <p:restoredTop sz="91398" autoAdjust="0"/>
  </p:normalViewPr>
  <p:slideViewPr>
    <p:cSldViewPr snapToGrid="0">
      <p:cViewPr varScale="1">
        <p:scale>
          <a:sx n="104" d="100"/>
          <a:sy n="104" d="100"/>
        </p:scale>
        <p:origin x="582" y="-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5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20371340804498"/>
          <c:y val="0.33274836062877516"/>
          <c:w val="0.51388188967149906"/>
          <c:h val="0.41874647276920984"/>
        </c:manualLayout>
      </c:layout>
      <c:doughnutChart>
        <c:varyColors val="1"/>
        <c:ser>
          <c:idx val="0"/>
          <c:order val="0"/>
          <c:tx>
            <c:strRef>
              <c:f>'FEI 2021-27'!$B$2</c:f>
              <c:strCache>
                <c:ptCount val="1"/>
                <c:pt idx="0">
                  <c:v>2021-27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2386-42E0-9AD0-5BF0EBF207AF}"/>
              </c:ext>
            </c:extLst>
          </c:dPt>
          <c:dPt>
            <c:idx val="1"/>
            <c:bubble3D val="0"/>
            <c:spPr>
              <a:solidFill>
                <a:srgbClr val="595959"/>
              </a:solidFill>
              <a:ln>
                <a:solidFill>
                  <a:srgbClr val="595959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2386-42E0-9AD0-5BF0EBF207AF}"/>
              </c:ext>
            </c:extLst>
          </c:dPt>
          <c:dPt>
            <c:idx val="2"/>
            <c:bubble3D val="0"/>
            <c:spPr>
              <a:solidFill>
                <a:srgbClr val="00C0C0"/>
              </a:solidFill>
              <a:ln>
                <a:solidFill>
                  <a:srgbClr val="00C0C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2386-42E0-9AD0-5BF0EBF207AF}"/>
              </c:ext>
            </c:extLst>
          </c:dPt>
          <c:dPt>
            <c:idx val="3"/>
            <c:bubble3D val="0"/>
            <c:spPr>
              <a:solidFill>
                <a:srgbClr val="6000C0"/>
              </a:solidFill>
              <a:ln>
                <a:solidFill>
                  <a:srgbClr val="6000C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2386-42E0-9AD0-5BF0EBF207AF}"/>
              </c:ext>
            </c:extLst>
          </c:dPt>
          <c:dPt>
            <c:idx val="4"/>
            <c:bubble3D val="0"/>
            <c:spPr>
              <a:solidFill>
                <a:srgbClr val="C06000"/>
              </a:solidFill>
              <a:ln>
                <a:solidFill>
                  <a:srgbClr val="C06000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2386-42E0-9AD0-5BF0EBF207AF}"/>
              </c:ext>
            </c:extLst>
          </c:dPt>
          <c:dLbls>
            <c:dLbl>
              <c:idx val="0"/>
              <c:layout>
                <c:manualLayout>
                  <c:x val="3.6217903821358768E-2"/>
                  <c:y val="-0.21822953213249457"/>
                </c:manualLayout>
              </c:layout>
              <c:tx>
                <c:rich>
                  <a:bodyPr/>
                  <a:lstStyle/>
                  <a:p>
                    <a:pPr algn="ctr" rtl="0">
                      <a:defRPr lang="es-ES" sz="1400" b="1" i="0" u="none" strike="noStrike" kern="1200" baseline="0">
                        <a:solidFill>
                          <a:sysClr val="windowText" lastClr="00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en-US" sz="1400" b="1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FEDER</a:t>
                    </a:r>
                  </a:p>
                  <a:p>
                    <a:pPr algn="ctr" rtl="0">
                      <a:defRPr lang="es-ES" sz="1400" b="1" i="0" u="none" strike="noStrike" kern="1200" baseline="0">
                        <a:solidFill>
                          <a:sysClr val="windowText" lastClr="00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en-US" sz="1400" b="1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48%</a:t>
                    </a:r>
                    <a:endParaRPr lang="en-US" sz="1400" b="1">
                      <a:solidFill>
                        <a:schemeClr val="bg1"/>
                      </a:solidFill>
                    </a:endParaRPr>
                  </a:p>
                </c:rich>
              </c:tx>
              <c:spPr>
                <a:solidFill>
                  <a:srgbClr val="C00000"/>
                </a:solidFill>
                <a:ln>
                  <a:solidFill>
                    <a:srgbClr val="C00000"/>
                  </a:solidFill>
                </a:ln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2386-42E0-9AD0-5BF0EBF207AF}"/>
                </c:ext>
              </c:extLst>
            </c:dLbl>
            <c:dLbl>
              <c:idx val="1"/>
              <c:layout>
                <c:manualLayout>
                  <c:x val="-0.18779053728131981"/>
                  <c:y val="3.4818836575846585E-2"/>
                </c:manualLayout>
              </c:layout>
              <c:tx>
                <c:rich>
                  <a:bodyPr/>
                  <a:lstStyle/>
                  <a:p>
                    <a:pPr algn="ctr" rtl="0">
                      <a:defRPr lang="es-ES" sz="1400" b="1" i="0" u="none" strike="noStrike" kern="1200" baseline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en-US" sz="14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FSE+</a:t>
                    </a:r>
                  </a:p>
                  <a:p>
                    <a:pPr algn="ctr" rtl="0">
                      <a:defRPr lang="es-ES" sz="1400" b="1" i="0" u="none" strike="noStrike" kern="1200" baseline="0">
                        <a:solidFill>
                          <a:schemeClr val="bg1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en-US" sz="14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2</a:t>
                    </a:r>
                    <a:r>
                      <a:rPr lang="en-US" sz="1400">
                        <a:solidFill>
                          <a:schemeClr val="bg1"/>
                        </a:solidFill>
                      </a:rPr>
                      <a:t>1%</a:t>
                    </a:r>
                  </a:p>
                </c:rich>
              </c:tx>
              <c:spPr>
                <a:solidFill>
                  <a:srgbClr val="595959"/>
                </a:solidFill>
                <a:ln>
                  <a:solidFill>
                    <a:srgbClr val="595959"/>
                  </a:solidFill>
                </a:ln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2386-42E0-9AD0-5BF0EBF207AF}"/>
                </c:ext>
              </c:extLst>
            </c:dLbl>
            <c:dLbl>
              <c:idx val="2"/>
              <c:layout>
                <c:manualLayout>
                  <c:x val="-0.12123631951666419"/>
                  <c:y val="-3.4221972253468326E-2"/>
                </c:manualLayout>
              </c:layout>
              <c:tx>
                <c:rich>
                  <a:bodyPr/>
                  <a:lstStyle/>
                  <a:p>
                    <a:pPr algn="ctr" rtl="0">
                      <a:defRPr lang="es-ES" sz="1400" b="1" i="0" u="none" strike="noStrike" kern="1200" baseline="0">
                        <a:solidFill>
                          <a:sysClr val="windowText" lastClr="00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en-US" sz="14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FEADER</a:t>
                    </a:r>
                  </a:p>
                  <a:p>
                    <a:pPr algn="ctr" rtl="0">
                      <a:defRPr lang="es-ES" sz="1400" b="1" i="0" u="none" strike="noStrike" kern="1200" baseline="0">
                        <a:solidFill>
                          <a:sysClr val="windowText" lastClr="00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en-US" sz="14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19%</a:t>
                    </a:r>
                    <a:endParaRPr lang="en-US" sz="1400">
                      <a:solidFill>
                        <a:schemeClr val="bg1"/>
                      </a:solidFill>
                    </a:endParaRPr>
                  </a:p>
                </c:rich>
              </c:tx>
              <c:spPr>
                <a:solidFill>
                  <a:srgbClr val="00C0C0"/>
                </a:solidFill>
                <a:ln>
                  <a:solidFill>
                    <a:srgbClr val="00C0C0"/>
                  </a:solidFill>
                </a:ln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2386-42E0-9AD0-5BF0EBF207AF}"/>
                </c:ext>
              </c:extLst>
            </c:dLbl>
            <c:dLbl>
              <c:idx val="3"/>
              <c:layout>
                <c:manualLayout>
                  <c:x val="-9.3461595602436512E-2"/>
                  <c:y val="-0.11788385826771654"/>
                </c:manualLayout>
              </c:layout>
              <c:tx>
                <c:rich>
                  <a:bodyPr/>
                  <a:lstStyle/>
                  <a:p>
                    <a:pPr>
                      <a:defRPr sz="1400" b="1">
                        <a:solidFill>
                          <a:sysClr val="windowText" lastClr="000000"/>
                        </a:solidFill>
                        <a:latin typeface="Arial" pitchFamily="34" charset="0"/>
                        <a:cs typeface="Arial" pitchFamily="34" charset="0"/>
                      </a:defRPr>
                    </a:pPr>
                    <a:r>
                      <a:rPr lang="en-US" sz="14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FEMP</a:t>
                    </a:r>
                  </a:p>
                  <a:p>
                    <a:pPr>
                      <a:defRPr sz="1400" b="1">
                        <a:solidFill>
                          <a:sysClr val="windowText" lastClr="000000"/>
                        </a:solidFill>
                        <a:latin typeface="Arial" pitchFamily="34" charset="0"/>
                        <a:cs typeface="Arial" pitchFamily="34" charset="0"/>
                      </a:defRPr>
                    </a:pPr>
                    <a:r>
                      <a:rPr lang="en-US" sz="14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2%</a:t>
                    </a:r>
                    <a:endParaRPr lang="en-US" sz="1400">
                      <a:solidFill>
                        <a:schemeClr val="bg1"/>
                      </a:solidFill>
                    </a:endParaRPr>
                  </a:p>
                </c:rich>
              </c:tx>
              <c:spPr>
                <a:solidFill>
                  <a:srgbClr val="6000C0"/>
                </a:solidFill>
                <a:ln>
                  <a:solidFill>
                    <a:srgbClr val="6000C0"/>
                  </a:solidFill>
                </a:ln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2386-42E0-9AD0-5BF0EBF207AF}"/>
                </c:ext>
              </c:extLst>
            </c:dLbl>
            <c:dLbl>
              <c:idx val="4"/>
              <c:layout>
                <c:manualLayout>
                  <c:x val="-1.3811469321051852E-2"/>
                  <c:y val="-0.18040307461567304"/>
                </c:manualLayout>
              </c:layout>
              <c:tx>
                <c:rich>
                  <a:bodyPr/>
                  <a:lstStyle/>
                  <a:p>
                    <a:pPr>
                      <a:defRPr sz="1400" b="1">
                        <a:solidFill>
                          <a:sysClr val="windowText" lastClr="000000"/>
                        </a:solidFill>
                        <a:latin typeface="Arial" pitchFamily="34" charset="0"/>
                        <a:cs typeface="Arial" pitchFamily="34" charset="0"/>
                      </a:defRPr>
                    </a:pPr>
                    <a:r>
                      <a:rPr lang="en-US" sz="1400" b="1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FC</a:t>
                    </a:r>
                  </a:p>
                  <a:p>
                    <a:pPr>
                      <a:defRPr sz="1400" b="1">
                        <a:solidFill>
                          <a:sysClr val="windowText" lastClr="000000"/>
                        </a:solidFill>
                        <a:latin typeface="Arial" pitchFamily="34" charset="0"/>
                        <a:cs typeface="Arial" pitchFamily="34" charset="0"/>
                      </a:defRPr>
                    </a:pPr>
                    <a:r>
                      <a:rPr lang="en-US" sz="1400" b="1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10%</a:t>
                    </a:r>
                  </a:p>
                </c:rich>
              </c:tx>
              <c:spPr>
                <a:solidFill>
                  <a:srgbClr val="C06000"/>
                </a:solidFill>
                <a:ln>
                  <a:solidFill>
                    <a:srgbClr val="C06000"/>
                  </a:solidFill>
                </a:ln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2386-42E0-9AD0-5BF0EBF207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ysClr val="windowText" lastClr="000000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FEI 2021-27'!$A$3:$A$7</c:f>
              <c:strCache>
                <c:ptCount val="5"/>
                <c:pt idx="0">
                  <c:v>FEDER</c:v>
                </c:pt>
                <c:pt idx="1">
                  <c:v>FSE (FSE+)</c:v>
                </c:pt>
                <c:pt idx="2">
                  <c:v>FEADER</c:v>
                </c:pt>
                <c:pt idx="3">
                  <c:v>FEMP</c:v>
                </c:pt>
                <c:pt idx="4">
                  <c:v>Fondo de Cohesión</c:v>
                </c:pt>
              </c:strCache>
            </c:strRef>
          </c:cat>
          <c:val>
            <c:numRef>
              <c:f>'FEI 2021-27'!$B$3:$B$7</c:f>
              <c:numCache>
                <c:formatCode>#,##0</c:formatCode>
                <c:ptCount val="5"/>
                <c:pt idx="0" formatCode="General">
                  <c:v>199694</c:v>
                </c:pt>
                <c:pt idx="1">
                  <c:v>87995</c:v>
                </c:pt>
                <c:pt idx="2">
                  <c:v>77850</c:v>
                </c:pt>
                <c:pt idx="3">
                  <c:v>6140</c:v>
                </c:pt>
                <c:pt idx="4">
                  <c:v>425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386-42E0-9AD0-5BF0EBF207A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</c:plotArea>
    <c:plotVisOnly val="1"/>
    <c:dispBlanksAs val="gap"/>
    <c:showDLblsOverMax val="0"/>
  </c:chart>
  <c:spPr>
    <a:ln>
      <a:solidFill>
        <a:srgbClr val="595959"/>
      </a:solidFill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773476" y="0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/>
          <a:lstStyle>
            <a:lvl1pPr algn="r">
              <a:defRPr sz="1200"/>
            </a:lvl1pPr>
          </a:lstStyle>
          <a:p>
            <a:fld id="{3A6DA68D-29F3-405D-A66B-C5EE805DAAC7}" type="datetimeFigureOut">
              <a:rPr lang="es-ES" smtClean="0"/>
              <a:t>22/06/2021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23813" y="744538"/>
            <a:ext cx="6615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90" tIns="45345" rIns="90690" bIns="45345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66274" y="4715788"/>
            <a:ext cx="5330190" cy="4466670"/>
          </a:xfrm>
          <a:prstGeom prst="rect">
            <a:avLst/>
          </a:prstGeom>
        </p:spPr>
        <p:txBody>
          <a:bodyPr vert="horz" lIns="90690" tIns="45345" rIns="90690" bIns="45345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8402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773476" y="9428402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 anchor="b"/>
          <a:lstStyle>
            <a:lvl1pPr algn="r">
              <a:defRPr sz="1200"/>
            </a:lvl1pPr>
          </a:lstStyle>
          <a:p>
            <a:fld id="{4EF79487-DE55-41A7-BECD-2022D20D68E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76619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0413" cy="2571750"/>
          </a:xfrm>
          <a:prstGeom prst="rect">
            <a:avLst/>
          </a:prstGeom>
        </p:spPr>
      </p:sp>
      <p:sp>
        <p:nvSpPr>
          <p:cNvPr id="113" name="PlaceHolder 2"/>
          <p:cNvSpPr>
            <a:spLocks noGrp="1"/>
          </p:cNvSpPr>
          <p:nvPr>
            <p:ph type="body"/>
          </p:nvPr>
        </p:nvSpPr>
        <p:spPr>
          <a:xfrm>
            <a:off x="1219320" y="3257640"/>
            <a:ext cx="9752760" cy="308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s-ES" sz="2000" b="0" strike="noStrike" spc="-1">
              <a:latin typeface="Arial"/>
            </a:endParaRPr>
          </a:p>
        </p:txBody>
      </p:sp>
      <p:sp>
        <p:nvSpPr>
          <p:cNvPr id="114" name="CustomShape 3"/>
          <p:cNvSpPr/>
          <p:nvPr/>
        </p:nvSpPr>
        <p:spPr>
          <a:xfrm>
            <a:off x="6905520" y="6513480"/>
            <a:ext cx="5282640" cy="342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algn="r">
              <a:lnSpc>
                <a:spcPct val="100000"/>
              </a:lnSpc>
            </a:pPr>
            <a:fld id="{50D7A829-34CF-4059-B157-75C38E73E82C}" type="slidenum">
              <a:rPr lang="es-ES" sz="1200" b="0" strike="noStrike" spc="-1">
                <a:solidFill>
                  <a:srgbClr val="000000"/>
                </a:solidFill>
                <a:latin typeface="+mn-lt"/>
                <a:ea typeface="+mn-ea"/>
              </a:rPr>
              <a:t>1</a:t>
            </a:fld>
            <a:endParaRPr lang="es-ES" sz="1200" b="0" strike="noStrike" spc="-1">
              <a:latin typeface="Arial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63430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63162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4144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6673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22675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4688" y="4767263"/>
            <a:ext cx="5394325" cy="390048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8877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F79487-DE55-41A7-BECD-2022D20D68E4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071787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F79487-DE55-41A7-BECD-2022D20D68E4}" type="slidenum">
              <a:rPr lang="es-ES" smtClean="0"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541784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9344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1610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06665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20036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21946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9348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3ECE6AC3-D28A-4896-A16D-0A7F397B4403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4768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751CE-8293-434B-9D33-65A42438DF25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45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61296B-72EF-407C-B3F5-63C2E69DB426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8275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a de think-cell" r:id="rId4" imgW="396" imgH="396" progId="TCLayout.ActiveDocument.1">
                  <p:embed/>
                </p:oleObj>
              </mc:Choice>
              <mc:Fallback>
                <p:oleObj name="Diapositiva de think-cell" r:id="rId4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">
            <a:extLst>
              <a:ext uri="{FF2B5EF4-FFF2-40B4-BE49-F238E27FC236}">
                <a16:creationId xmlns:a16="http://schemas.microsoft.com/office/drawing/2014/main" id="{87CAB1A9-F515-884B-906F-F80430ACA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 dirty="0"/>
              <a:t>[</a:t>
            </a:r>
            <a:r>
              <a:rPr lang="es-ES_tradnl" dirty="0" err="1"/>
              <a:t>Slide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r>
              <a:rPr lang="es-ES_tradnl" dirty="0"/>
              <a:t>]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298DDE95-B1C5-FB4C-8BF7-12046F6A30F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09601" y="1325882"/>
            <a:ext cx="109728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s-ES_tradnl" dirty="0"/>
              <a:t>[</a:t>
            </a:r>
            <a:r>
              <a:rPr lang="es-ES_tradnl" dirty="0" err="1"/>
              <a:t>Optional</a:t>
            </a:r>
            <a:r>
              <a:rPr lang="es-ES_tradnl" dirty="0"/>
              <a:t> </a:t>
            </a:r>
            <a:r>
              <a:rPr lang="es-ES_tradnl" dirty="0" err="1"/>
              <a:t>slide</a:t>
            </a:r>
            <a:r>
              <a:rPr lang="es-ES_tradnl" dirty="0"/>
              <a:t> </a:t>
            </a:r>
            <a:r>
              <a:rPr lang="es-ES_tradnl" dirty="0" err="1"/>
              <a:t>subtitle</a:t>
            </a:r>
            <a:r>
              <a:rPr lang="es-ES_tradnl" dirty="0"/>
              <a:t>]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39824D97-CFC5-B740-BB2A-7151A0189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dirty="0" err="1"/>
              <a:t>Presentation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endParaRPr lang="es-ES_tradnl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B85135FE-5CD1-40E8-8312-B6FE7B4FD8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000" y="6355077"/>
            <a:ext cx="6096000" cy="274323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s-ES_tradnl" dirty="0"/>
              <a:t>[</a:t>
            </a:r>
            <a:r>
              <a:rPr lang="es-ES_tradnl" dirty="0" err="1"/>
              <a:t>Optional</a:t>
            </a:r>
            <a:r>
              <a:rPr lang="es-ES_tradnl" dirty="0"/>
              <a:t> </a:t>
            </a:r>
            <a:r>
              <a:rPr lang="es-ES_tradnl" dirty="0" err="1"/>
              <a:t>footnotes</a:t>
            </a:r>
            <a:r>
              <a:rPr lang="es-ES_tradnl" dirty="0"/>
              <a:t>/</a:t>
            </a:r>
            <a:r>
              <a:rPr lang="es-ES_tradnl" dirty="0" err="1"/>
              <a:t>references</a:t>
            </a:r>
            <a:r>
              <a:rPr lang="es-ES_tradnl" dirty="0"/>
              <a:t>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036D2812-6DE4-364B-8CB0-1D8FC82CD7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_tradnl" dirty="0"/>
              <a:t>Date</a:t>
            </a:r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21FE94C2-E576-414B-B371-4FE3223A8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s-ES_tradnl" smtClean="0"/>
              <a:pPr/>
              <a:t>‹Nº›</a:t>
            </a:fld>
            <a:endParaRPr lang="es-ES_tradnl" dirty="0"/>
          </a:p>
        </p:txBody>
      </p:sp>
      <p:sp>
        <p:nvSpPr>
          <p:cNvPr id="11" name="CustomShape 1">
            <a:extLst>
              <a:ext uri="{FF2B5EF4-FFF2-40B4-BE49-F238E27FC236}">
                <a16:creationId xmlns:a16="http://schemas.microsoft.com/office/drawing/2014/main" id="{73F0DD15-825F-4864-A80C-13FA9319BE91}"/>
              </a:ext>
            </a:extLst>
          </p:cNvPr>
          <p:cNvSpPr/>
          <p:nvPr userDrawn="1"/>
        </p:nvSpPr>
        <p:spPr>
          <a:xfrm>
            <a:off x="0" y="0"/>
            <a:ext cx="12192000" cy="666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012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  <p:extLst>
      <p:ext uri="{BB962C8B-B14F-4D97-AF65-F5344CB8AC3E}">
        <p14:creationId xmlns:p14="http://schemas.microsoft.com/office/powerpoint/2010/main" val="20505325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A1DBB8-33FD-4563-9BDC-D89061323CCC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CustomShape 1">
            <a:extLst>
              <a:ext uri="{FF2B5EF4-FFF2-40B4-BE49-F238E27FC236}">
                <a16:creationId xmlns:a16="http://schemas.microsoft.com/office/drawing/2014/main" id="{64782DC6-2501-4B6D-B2AA-0D0C60B9065A}"/>
              </a:ext>
            </a:extLst>
          </p:cNvPr>
          <p:cNvSpPr/>
          <p:nvPr userDrawn="1"/>
        </p:nvSpPr>
        <p:spPr>
          <a:xfrm>
            <a:off x="0" y="0"/>
            <a:ext cx="12192000" cy="666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012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  <p:extLst>
      <p:ext uri="{BB962C8B-B14F-4D97-AF65-F5344CB8AC3E}">
        <p14:creationId xmlns:p14="http://schemas.microsoft.com/office/powerpoint/2010/main" val="3142901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902F1-D3DF-4529-8835-139F4454D81D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9611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FF0A9C-6F23-43B5-9617-D4E0C4DAB76F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9050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007C-47D5-43C7-9A81-312D9FACDABB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1299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7C13B9-1084-4A1A-A960-B60E50B3A38A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287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D7790-ECC1-4EE8-901A-A4A9AD62BB31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8780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8520544" y="0"/>
            <a:ext cx="3671455" cy="6858000"/>
          </a:xfrm>
          <a:prstGeom prst="rect">
            <a:avLst/>
          </a:prstGeom>
          <a:solidFill>
            <a:srgbClr val="FD1B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3C20A-D76E-458B-9756-C40D8F0B587B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4628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blipFill>
            <a:blip r:embed="rId2"/>
            <a:stretch>
              <a:fillRect/>
            </a:stretch>
          </a:blip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FC4E3663-46A0-4746-99E1-651CA1CA1AF2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578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8DEA274A-4D75-4F9D-84DE-2CB702F00854}" type="datetime1">
              <a:rPr lang="en-US" smtClean="0"/>
              <a:t>6/22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536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6" r:id="rId12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jp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6.emf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31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12" Type="http://schemas.openxmlformats.org/officeDocument/2006/relationships/image" Target="../media/image3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36.pn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35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hyperlink" Target="https://vimeo.com/512493128/2805ba77e6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7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2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0.png"/><Relationship Id="rId11" Type="http://schemas.openxmlformats.org/officeDocument/2006/relationships/image" Target="../media/image41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1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44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3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46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11" Type="http://schemas.openxmlformats.org/officeDocument/2006/relationships/chart" Target="../charts/chart1.xml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13" Type="http://schemas.openxmlformats.org/officeDocument/2006/relationships/image" Target="../media/image26.png"/><Relationship Id="rId3" Type="http://schemas.openxmlformats.org/officeDocument/2006/relationships/image" Target="../media/image17.png"/><Relationship Id="rId7" Type="http://schemas.openxmlformats.org/officeDocument/2006/relationships/image" Target="../media/image21.emf"/><Relationship Id="rId12" Type="http://schemas.openxmlformats.org/officeDocument/2006/relationships/image" Target="../media/image6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emf"/><Relationship Id="rId11" Type="http://schemas.openxmlformats.org/officeDocument/2006/relationships/image" Target="../media/image25.png"/><Relationship Id="rId5" Type="http://schemas.openxmlformats.org/officeDocument/2006/relationships/image" Target="../media/image19.emf"/><Relationship Id="rId10" Type="http://schemas.openxmlformats.org/officeDocument/2006/relationships/image" Target="../media/image24.emf"/><Relationship Id="rId4" Type="http://schemas.openxmlformats.org/officeDocument/2006/relationships/image" Target="../media/image18.emf"/><Relationship Id="rId9" Type="http://schemas.openxmlformats.org/officeDocument/2006/relationships/image" Target="../media/image23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CustomShape 1"/>
          <p:cNvSpPr/>
          <p:nvPr/>
        </p:nvSpPr>
        <p:spPr>
          <a:xfrm>
            <a:off x="407520" y="3203521"/>
            <a:ext cx="3244320" cy="142337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2480" rIns="0" bIns="0">
            <a:spAutoFit/>
          </a:bodyPr>
          <a:lstStyle/>
          <a:p>
            <a:pPr marL="12480">
              <a:spcBef>
                <a:spcPts val="99"/>
              </a:spcBef>
            </a:pPr>
            <a:endParaRPr lang="es-ES" sz="2400" spc="-1">
              <a:latin typeface="Arial"/>
            </a:endParaRPr>
          </a:p>
          <a:p>
            <a:pPr marL="12480">
              <a:lnSpc>
                <a:spcPts val="2373"/>
              </a:lnSpc>
              <a:spcBef>
                <a:spcPts val="2933"/>
              </a:spcBef>
            </a:pPr>
            <a:r>
              <a:rPr lang="es-ES" sz="2000" b="1" spc="-1">
                <a:solidFill>
                  <a:srgbClr val="8E1535"/>
                </a:solidFill>
                <a:latin typeface="Arial"/>
                <a:ea typeface="DejaVu Sans"/>
              </a:rPr>
              <a:t>Colaboran:</a:t>
            </a:r>
            <a:endParaRPr lang="es-ES" sz="2000" spc="-1">
              <a:latin typeface="Arial"/>
            </a:endParaRPr>
          </a:p>
          <a:p>
            <a:pPr marL="12480">
              <a:lnSpc>
                <a:spcPts val="2880"/>
              </a:lnSpc>
              <a:spcBef>
                <a:spcPts val="72"/>
              </a:spcBef>
            </a:pPr>
            <a:r>
              <a:rPr lang="es-ES" sz="2400" spc="80">
                <a:solidFill>
                  <a:srgbClr val="A6A6A6"/>
                </a:solidFill>
                <a:latin typeface="Arial"/>
                <a:ea typeface="DejaVu Sans"/>
              </a:rPr>
              <a:t>Universidad de </a:t>
            </a:r>
            <a:r>
              <a:rPr lang="es-ES" sz="2400" spc="20">
                <a:solidFill>
                  <a:srgbClr val="A6A6A6"/>
                </a:solidFill>
                <a:latin typeface="Arial"/>
                <a:ea typeface="DejaVu Sans"/>
              </a:rPr>
              <a:t>Sevilla  </a:t>
            </a:r>
            <a:endParaRPr lang="es-ES" sz="2400" spc="-1">
              <a:latin typeface="Arial"/>
            </a:endParaRPr>
          </a:p>
        </p:txBody>
      </p:sp>
      <p:sp>
        <p:nvSpPr>
          <p:cNvPr id="86" name="CustomShape 3"/>
          <p:cNvSpPr/>
          <p:nvPr/>
        </p:nvSpPr>
        <p:spPr>
          <a:xfrm>
            <a:off x="317760" y="1840800"/>
            <a:ext cx="5819040" cy="138475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1680" tIns="45600" rIns="91680" bIns="45600">
            <a:spAutoFit/>
          </a:bodyPr>
          <a:lstStyle/>
          <a:p>
            <a:pPr>
              <a:lnSpc>
                <a:spcPct val="100000"/>
              </a:lnSpc>
            </a:pPr>
            <a:r>
              <a:rPr lang="es-ES" sz="2800" b="1" spc="-1">
                <a:solidFill>
                  <a:srgbClr val="FFFFFF"/>
                </a:solidFill>
                <a:latin typeface="Lucida Sans"/>
                <a:ea typeface="DejaVu Sans"/>
              </a:rPr>
              <a:t>01 de Abril</a:t>
            </a:r>
            <a:endParaRPr lang="es-ES" sz="2800" spc="-1"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es-ES" sz="2800" b="1" spc="-1">
                <a:solidFill>
                  <a:srgbClr val="BC1E46"/>
                </a:solidFill>
                <a:latin typeface="Lucida Sans"/>
                <a:ea typeface="DejaVu Sans"/>
              </a:rPr>
              <a:t>X Jornada de la Comunidad Valenciana</a:t>
            </a:r>
            <a:endParaRPr lang="es-ES" sz="2800" spc="-1">
              <a:latin typeface="Arial"/>
            </a:endParaRPr>
          </a:p>
        </p:txBody>
      </p:sp>
      <p:pic>
        <p:nvPicPr>
          <p:cNvPr id="88" name="8 Imagen" descr="Logo itSMF Esp-Definitivo.jpg"/>
          <p:cNvPicPr/>
          <p:nvPr/>
        </p:nvPicPr>
        <p:blipFill>
          <a:blip r:embed="rId3"/>
          <a:stretch/>
        </p:blipFill>
        <p:spPr>
          <a:xfrm>
            <a:off x="152640" y="228480"/>
            <a:ext cx="1446720" cy="624480"/>
          </a:xfrm>
          <a:prstGeom prst="rect">
            <a:avLst/>
          </a:prstGeom>
          <a:ln>
            <a:noFill/>
          </a:ln>
        </p:spPr>
      </p:pic>
      <p:grpSp>
        <p:nvGrpSpPr>
          <p:cNvPr id="89" name="Group 4"/>
          <p:cNvGrpSpPr/>
          <p:nvPr/>
        </p:nvGrpSpPr>
        <p:grpSpPr>
          <a:xfrm>
            <a:off x="-35990" y="-1"/>
            <a:ext cx="7466400" cy="7085760"/>
            <a:chOff x="0" y="0"/>
            <a:chExt cx="5599800" cy="5314320"/>
          </a:xfrm>
        </p:grpSpPr>
        <p:sp>
          <p:nvSpPr>
            <p:cNvPr id="90" name="CustomShape 5"/>
            <p:cNvSpPr/>
            <p:nvPr/>
          </p:nvSpPr>
          <p:spPr>
            <a:xfrm>
              <a:off x="0" y="0"/>
              <a:ext cx="5502600" cy="5314320"/>
            </a:xfrm>
            <a:custGeom>
              <a:avLst/>
              <a:gdLst/>
              <a:ahLst/>
              <a:cxnLst/>
              <a:rect l="l" t="t" r="r" b="b"/>
              <a:pathLst>
                <a:path w="6455410" h="6858000">
                  <a:moveTo>
                    <a:pt x="6455156" y="0"/>
                  </a:moveTo>
                  <a:lnTo>
                    <a:pt x="0" y="0"/>
                  </a:lnTo>
                  <a:lnTo>
                    <a:pt x="0" y="6857999"/>
                  </a:lnTo>
                  <a:lnTo>
                    <a:pt x="5164201" y="6857999"/>
                  </a:lnTo>
                  <a:lnTo>
                    <a:pt x="6455156" y="0"/>
                  </a:lnTo>
                  <a:close/>
                </a:path>
              </a:pathLst>
            </a:custGeom>
            <a:solidFill>
              <a:srgbClr val="22232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es-ES" sz="1867" spc="-1">
                  <a:solidFill>
                    <a:srgbClr val="000000"/>
                  </a:solidFill>
                  <a:latin typeface="Calibri"/>
                  <a:ea typeface="DejaVu Sans"/>
                </a:rPr>
                <a:t>0</a:t>
              </a:r>
              <a:endParaRPr lang="es-ES" sz="1867" spc="-1">
                <a:latin typeface="Arial"/>
              </a:endParaRPr>
            </a:p>
          </p:txBody>
        </p:sp>
        <p:sp>
          <p:nvSpPr>
            <p:cNvPr id="91" name="CustomShape 6"/>
            <p:cNvSpPr/>
            <p:nvPr/>
          </p:nvSpPr>
          <p:spPr>
            <a:xfrm>
              <a:off x="4384800" y="0"/>
              <a:ext cx="1215000" cy="5314320"/>
            </a:xfrm>
            <a:custGeom>
              <a:avLst/>
              <a:gdLst/>
              <a:ahLst/>
              <a:cxnLst/>
              <a:rect l="l" t="t" r="r" b="b"/>
              <a:pathLst>
                <a:path w="1426209" h="6858000">
                  <a:moveTo>
                    <a:pt x="1425828" y="0"/>
                  </a:moveTo>
                  <a:lnTo>
                    <a:pt x="1288796" y="0"/>
                  </a:lnTo>
                  <a:lnTo>
                    <a:pt x="0" y="6857999"/>
                  </a:lnTo>
                  <a:lnTo>
                    <a:pt x="137033" y="6857999"/>
                  </a:lnTo>
                  <a:lnTo>
                    <a:pt x="1425828" y="0"/>
                  </a:lnTo>
                  <a:close/>
                </a:path>
              </a:pathLst>
            </a:custGeom>
            <a:solidFill>
              <a:srgbClr val="BC1E4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pic>
        <p:nvPicPr>
          <p:cNvPr id="14338" name="Picture 2" descr="2 Jornada Estrategia Recuperacion UPV">
            <a:extLst>
              <a:ext uri="{FF2B5EF4-FFF2-40B4-BE49-F238E27FC236}">
                <a16:creationId xmlns:a16="http://schemas.microsoft.com/office/drawing/2014/main" id="{7E7053D5-C8C2-4557-AB01-2205F2F2B1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7325" y="-1"/>
            <a:ext cx="7096125" cy="7096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n 12" descr="Imagen que contiene cuchillo&#10;&#10;Descripción generada automáticamente">
            <a:extLst>
              <a:ext uri="{FF2B5EF4-FFF2-40B4-BE49-F238E27FC236}">
                <a16:creationId xmlns:a16="http://schemas.microsoft.com/office/drawing/2014/main" id="{77AD99BE-A55F-41CE-A618-1981A3B32F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3694" y="2142437"/>
            <a:ext cx="3747170" cy="2623019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1 Título">
            <a:extLst>
              <a:ext uri="{FF2B5EF4-FFF2-40B4-BE49-F238E27FC236}">
                <a16:creationId xmlns:a16="http://schemas.microsoft.com/office/drawing/2014/main" id="{09789E6D-1BEA-43FA-878B-677AF0C75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861" y="-26160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JECUCIÓN DE LA EVR:</a:t>
            </a:r>
            <a:r>
              <a:rPr lang="es-ES" sz="2667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E 14 A 22 PROYECTOS TRACTORES</a:t>
            </a:r>
            <a:br>
              <a:rPr lang="es-ES" sz="2667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endParaRPr lang="es-ES" sz="2667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3" name="5 Conector recto">
            <a:extLst>
              <a:ext uri="{FF2B5EF4-FFF2-40B4-BE49-F238E27FC236}">
                <a16:creationId xmlns:a16="http://schemas.microsoft.com/office/drawing/2014/main" id="{A66C880A-EE9E-444A-9910-4BA33DBB13DB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2">
            <a:extLst>
              <a:ext uri="{FF2B5EF4-FFF2-40B4-BE49-F238E27FC236}">
                <a16:creationId xmlns:a16="http://schemas.microsoft.com/office/drawing/2014/main" id="{67A28CFD-6CF8-4B48-B39D-65C821F42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F20C798D-80CB-41EB-9E5C-C82AD40330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9903" y="684860"/>
            <a:ext cx="11044716" cy="6173140"/>
          </a:xfrm>
          <a:prstGeom prst="rect">
            <a:avLst/>
          </a:prstGeom>
        </p:spPr>
      </p:pic>
      <p:sp>
        <p:nvSpPr>
          <p:cNvPr id="8" name="1 Título">
            <a:extLst>
              <a:ext uri="{FF2B5EF4-FFF2-40B4-BE49-F238E27FC236}">
                <a16:creationId xmlns:a16="http://schemas.microsoft.com/office/drawing/2014/main" id="{9D6F4916-30B0-452A-9756-D2E9B0C3E064}"/>
              </a:ext>
            </a:extLst>
          </p:cNvPr>
          <p:cNvSpPr txBox="1">
            <a:spLocks/>
          </p:cNvSpPr>
          <p:nvPr/>
        </p:nvSpPr>
        <p:spPr>
          <a:xfrm>
            <a:off x="-7872" y="1582690"/>
            <a:ext cx="3876676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endParaRPr lang="es-ES" sz="2667" spc="-12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70168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s-ES" sz="2400" dirty="0">
              <a:solidFill>
                <a:srgbClr val="FFFFFF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7870704B-CE94-48CC-AF30-84932A1262A7}" type="slidenum">
              <a:rPr lang="es-ES_tradnl" sz="700">
                <a:solidFill>
                  <a:srgbClr val="000000"/>
                </a:solidFill>
                <a:latin typeface="Arial"/>
              </a:rPr>
              <a:pPr defTabSz="914377">
                <a:defRPr/>
              </a:pPr>
              <a:t>11</a:t>
            </a:fld>
            <a:endParaRPr lang="es-ES_tradnl" sz="7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Rectangle 48">
            <a:extLst>
              <a:ext uri="{FF2B5EF4-FFF2-40B4-BE49-F238E27FC236}">
                <a16:creationId xmlns:a16="http://schemas.microsoft.com/office/drawing/2014/main" id="{8BC0018B-0C13-4488-81EE-4F6128B7EC27}"/>
              </a:ext>
            </a:extLst>
          </p:cNvPr>
          <p:cNvSpPr/>
          <p:nvPr/>
        </p:nvSpPr>
        <p:spPr>
          <a:xfrm>
            <a:off x="348220" y="2931246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alt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 Competitividad y Sostenibilidad</a:t>
            </a:r>
            <a:endParaRPr lang="es-ES" sz="1400" b="1" dirty="0">
              <a:solidFill>
                <a:schemeClr val="bg1"/>
              </a:solidFill>
            </a:endParaRPr>
          </a:p>
        </p:txBody>
      </p:sp>
      <p:sp>
        <p:nvSpPr>
          <p:cNvPr id="72" name="Rectangle 5">
            <a:extLst>
              <a:ext uri="{FF2B5EF4-FFF2-40B4-BE49-F238E27FC236}">
                <a16:creationId xmlns:a16="http://schemas.microsoft.com/office/drawing/2014/main" id="{9741E56F-E616-4D99-9764-431BC2CA0C59}"/>
              </a:ext>
            </a:extLst>
          </p:cNvPr>
          <p:cNvSpPr/>
          <p:nvPr/>
        </p:nvSpPr>
        <p:spPr>
          <a:xfrm>
            <a:off x="317740" y="1124950"/>
            <a:ext cx="3627120" cy="72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drógeno</a:t>
            </a:r>
          </a:p>
        </p:txBody>
      </p:sp>
      <p:sp>
        <p:nvSpPr>
          <p:cNvPr id="73" name="Rectangle 46">
            <a:extLst>
              <a:ext uri="{FF2B5EF4-FFF2-40B4-BE49-F238E27FC236}">
                <a16:creationId xmlns:a16="http://schemas.microsoft.com/office/drawing/2014/main" id="{85AA1C56-A6C4-4F12-827B-A7DBC2E5A7A4}"/>
              </a:ext>
            </a:extLst>
          </p:cNvPr>
          <p:cNvSpPr/>
          <p:nvPr/>
        </p:nvSpPr>
        <p:spPr>
          <a:xfrm>
            <a:off x="317740" y="1998779"/>
            <a:ext cx="3627120" cy="72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alt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o demográfico y Lucha contra la despoblación</a:t>
            </a:r>
            <a:endParaRPr lang="es-ES" sz="1400" b="1" dirty="0">
              <a:solidFill>
                <a:schemeClr val="bg1"/>
              </a:solidFill>
            </a:endParaRPr>
          </a:p>
        </p:txBody>
      </p:sp>
      <p:sp>
        <p:nvSpPr>
          <p:cNvPr id="75" name="Rectangle 53">
            <a:extLst>
              <a:ext uri="{FF2B5EF4-FFF2-40B4-BE49-F238E27FC236}">
                <a16:creationId xmlns:a16="http://schemas.microsoft.com/office/drawing/2014/main" id="{A207DA8A-CFA3-4E73-ADC1-E2114BAE07E9}"/>
              </a:ext>
            </a:extLst>
          </p:cNvPr>
          <p:cNvSpPr/>
          <p:nvPr/>
        </p:nvSpPr>
        <p:spPr>
          <a:xfrm>
            <a:off x="4483340" y="1028967"/>
            <a:ext cx="2123440" cy="359571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endParaRPr lang="es-ES" sz="1400" b="1" dirty="0">
              <a:solidFill>
                <a:schemeClr val="tx1"/>
              </a:solidFill>
            </a:endParaRPr>
          </a:p>
        </p:txBody>
      </p:sp>
      <p:pic>
        <p:nvPicPr>
          <p:cNvPr id="458756" name="Picture 4" descr="Ministerio para la Transición Ecológica y el Reto Demográfico | LinkedIn">
            <a:extLst>
              <a:ext uri="{FF2B5EF4-FFF2-40B4-BE49-F238E27FC236}">
                <a16:creationId xmlns:a16="http://schemas.microsoft.com/office/drawing/2014/main" id="{045FBAC6-1D7A-44D4-B3F4-84C62EB360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66" b="38905"/>
          <a:stretch/>
        </p:blipFill>
        <p:spPr bwMode="auto">
          <a:xfrm>
            <a:off x="417416" y="1347117"/>
            <a:ext cx="1138435" cy="268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4" descr="Ministerio para la Transición Ecológica y el Reto Demográfico | LinkedIn">
            <a:extLst>
              <a:ext uri="{FF2B5EF4-FFF2-40B4-BE49-F238E27FC236}">
                <a16:creationId xmlns:a16="http://schemas.microsoft.com/office/drawing/2014/main" id="{DC46019C-99AB-439D-AAF5-5D43547C4F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66" b="38905"/>
          <a:stretch/>
        </p:blipFill>
        <p:spPr bwMode="auto">
          <a:xfrm>
            <a:off x="417416" y="2207932"/>
            <a:ext cx="1138435" cy="268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AD28541B-A19E-44C2-9515-3C35F5EB27D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7416" y="3154086"/>
            <a:ext cx="975360" cy="27432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BDB293D2-7924-4077-94D7-D673005984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38787" y="2154557"/>
            <a:ext cx="1380847" cy="2774721"/>
          </a:xfrm>
          <a:prstGeom prst="rect">
            <a:avLst/>
          </a:prstGeom>
        </p:spPr>
      </p:pic>
      <p:sp>
        <p:nvSpPr>
          <p:cNvPr id="20" name="1 Título">
            <a:extLst>
              <a:ext uri="{FF2B5EF4-FFF2-40B4-BE49-F238E27FC236}">
                <a16:creationId xmlns:a16="http://schemas.microsoft.com/office/drawing/2014/main" id="{0D32B9A0-EAA1-48CE-AFF6-B39CC72A64BB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SPAÑA PUEDE: MDI</a:t>
            </a:r>
          </a:p>
        </p:txBody>
      </p:sp>
      <p:cxnSp>
        <p:nvCxnSpPr>
          <p:cNvPr id="21" name="9 Conector recto">
            <a:extLst>
              <a:ext uri="{FF2B5EF4-FFF2-40B4-BE49-F238E27FC236}">
                <a16:creationId xmlns:a16="http://schemas.microsoft.com/office/drawing/2014/main" id="{B71508D7-01B0-496F-881D-6D54ADA48CCB}"/>
              </a:ext>
            </a:extLst>
          </p:cNvPr>
          <p:cNvCxnSpPr/>
          <p:nvPr/>
        </p:nvCxnSpPr>
        <p:spPr>
          <a:xfrm>
            <a:off x="6672064" y="644691"/>
            <a:ext cx="52805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>
            <a:extLst>
              <a:ext uri="{FF2B5EF4-FFF2-40B4-BE49-F238E27FC236}">
                <a16:creationId xmlns:a16="http://schemas.microsoft.com/office/drawing/2014/main" id="{326BE46E-07FD-459A-AB47-C00898E408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ctangle 48">
            <a:extLst>
              <a:ext uri="{FF2B5EF4-FFF2-40B4-BE49-F238E27FC236}">
                <a16:creationId xmlns:a16="http://schemas.microsoft.com/office/drawing/2014/main" id="{BBA9D397-8262-4712-947A-EC2EC4886B09}"/>
              </a:ext>
            </a:extLst>
          </p:cNvPr>
          <p:cNvSpPr/>
          <p:nvPr/>
        </p:nvSpPr>
        <p:spPr>
          <a:xfrm>
            <a:off x="348220" y="3913488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alt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G y ciberseguridad</a:t>
            </a:r>
            <a:endParaRPr lang="es-ES" sz="1400" b="1" dirty="0">
              <a:solidFill>
                <a:schemeClr val="bg1"/>
              </a:solidFill>
            </a:endParaRPr>
          </a:p>
        </p:txBody>
      </p:sp>
      <p:pic>
        <p:nvPicPr>
          <p:cNvPr id="27" name="Imagen 26">
            <a:extLst>
              <a:ext uri="{FF2B5EF4-FFF2-40B4-BE49-F238E27FC236}">
                <a16:creationId xmlns:a16="http://schemas.microsoft.com/office/drawing/2014/main" id="{D0A4E066-5A42-4EAD-89B2-A476637F3E1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7416" y="4136328"/>
            <a:ext cx="975360" cy="274320"/>
          </a:xfrm>
          <a:prstGeom prst="rect">
            <a:avLst/>
          </a:prstGeom>
        </p:spPr>
      </p:pic>
      <p:sp>
        <p:nvSpPr>
          <p:cNvPr id="24" name="Rectangle 48">
            <a:extLst>
              <a:ext uri="{FF2B5EF4-FFF2-40B4-BE49-F238E27FC236}">
                <a16:creationId xmlns:a16="http://schemas.microsoft.com/office/drawing/2014/main" id="{BE91E61F-5134-4982-90E4-BFB5107DAADB}"/>
              </a:ext>
            </a:extLst>
          </p:cNvPr>
          <p:cNvSpPr/>
          <p:nvPr/>
        </p:nvSpPr>
        <p:spPr>
          <a:xfrm>
            <a:off x="4483340" y="2056885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ía Circular</a:t>
            </a: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348BF716-3E20-4401-9607-94FF2E4E80F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52536" y="2279725"/>
            <a:ext cx="975360" cy="274320"/>
          </a:xfrm>
          <a:prstGeom prst="rect">
            <a:avLst/>
          </a:prstGeom>
        </p:spPr>
      </p:pic>
      <p:sp>
        <p:nvSpPr>
          <p:cNvPr id="28" name="Rectangle 48">
            <a:extLst>
              <a:ext uri="{FF2B5EF4-FFF2-40B4-BE49-F238E27FC236}">
                <a16:creationId xmlns:a16="http://schemas.microsoft.com/office/drawing/2014/main" id="{90ECC86D-E01C-4D9B-9358-0D1AD33733CE}"/>
              </a:ext>
            </a:extLst>
          </p:cNvPr>
          <p:cNvSpPr/>
          <p:nvPr/>
        </p:nvSpPr>
        <p:spPr>
          <a:xfrm>
            <a:off x="4483340" y="1114045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ilidad Eléctrica</a:t>
            </a:r>
          </a:p>
        </p:txBody>
      </p:sp>
      <p:pic>
        <p:nvPicPr>
          <p:cNvPr id="29" name="Imagen 28">
            <a:extLst>
              <a:ext uri="{FF2B5EF4-FFF2-40B4-BE49-F238E27FC236}">
                <a16:creationId xmlns:a16="http://schemas.microsoft.com/office/drawing/2014/main" id="{70D1A2CC-A6E1-452A-B6BB-CCC17F6E94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52536" y="1336885"/>
            <a:ext cx="975360" cy="274320"/>
          </a:xfrm>
          <a:prstGeom prst="rect">
            <a:avLst/>
          </a:prstGeom>
        </p:spPr>
      </p:pic>
      <p:sp>
        <p:nvSpPr>
          <p:cNvPr id="30" name="Rectangle 48">
            <a:extLst>
              <a:ext uri="{FF2B5EF4-FFF2-40B4-BE49-F238E27FC236}">
                <a16:creationId xmlns:a16="http://schemas.microsoft.com/office/drawing/2014/main" id="{536032C4-0EBA-4A1B-A519-5AB5DC15604E}"/>
              </a:ext>
            </a:extLst>
          </p:cNvPr>
          <p:cNvSpPr/>
          <p:nvPr/>
        </p:nvSpPr>
        <p:spPr>
          <a:xfrm>
            <a:off x="4483340" y="3889562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encia</a:t>
            </a:r>
          </a:p>
        </p:txBody>
      </p:sp>
      <p:pic>
        <p:nvPicPr>
          <p:cNvPr id="31" name="Imagen 30">
            <a:extLst>
              <a:ext uri="{FF2B5EF4-FFF2-40B4-BE49-F238E27FC236}">
                <a16:creationId xmlns:a16="http://schemas.microsoft.com/office/drawing/2014/main" id="{5BE0B685-9BC5-432E-B545-3456E0562B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52536" y="4110523"/>
            <a:ext cx="975360" cy="274320"/>
          </a:xfrm>
          <a:prstGeom prst="rect">
            <a:avLst/>
          </a:prstGeom>
        </p:spPr>
      </p:pic>
      <p:sp>
        <p:nvSpPr>
          <p:cNvPr id="32" name="Rectangle 48">
            <a:extLst>
              <a:ext uri="{FF2B5EF4-FFF2-40B4-BE49-F238E27FC236}">
                <a16:creationId xmlns:a16="http://schemas.microsoft.com/office/drawing/2014/main" id="{31384745-BEFE-4A1F-A9D9-BDFF7C4F1277}"/>
              </a:ext>
            </a:extLst>
          </p:cNvPr>
          <p:cNvSpPr/>
          <p:nvPr/>
        </p:nvSpPr>
        <p:spPr>
          <a:xfrm>
            <a:off x="4483340" y="2931246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resas Transporte</a:t>
            </a:r>
            <a:endParaRPr lang="es-ES" sz="1400" b="1" dirty="0">
              <a:solidFill>
                <a:schemeClr val="bg1"/>
              </a:solidFill>
            </a:endParaRPr>
          </a:p>
        </p:txBody>
      </p:sp>
      <p:pic>
        <p:nvPicPr>
          <p:cNvPr id="33" name="Imagen 32">
            <a:extLst>
              <a:ext uri="{FF2B5EF4-FFF2-40B4-BE49-F238E27FC236}">
                <a16:creationId xmlns:a16="http://schemas.microsoft.com/office/drawing/2014/main" id="{435DA595-1ADA-4E20-8C90-70BD1CC12F1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52536" y="3152207"/>
            <a:ext cx="975360" cy="274320"/>
          </a:xfrm>
          <a:prstGeom prst="rect">
            <a:avLst/>
          </a:prstGeom>
        </p:spPr>
      </p:pic>
      <p:sp>
        <p:nvSpPr>
          <p:cNvPr id="35" name="Rectangle 48">
            <a:extLst>
              <a:ext uri="{FF2B5EF4-FFF2-40B4-BE49-F238E27FC236}">
                <a16:creationId xmlns:a16="http://schemas.microsoft.com/office/drawing/2014/main" id="{115F74F4-9F2A-435B-8D9A-AE7375DA8D86}"/>
              </a:ext>
            </a:extLst>
          </p:cNvPr>
          <p:cNvSpPr/>
          <p:nvPr/>
        </p:nvSpPr>
        <p:spPr>
          <a:xfrm>
            <a:off x="8336752" y="1134234"/>
            <a:ext cx="359664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612000" rtlCol="0" anchor="ctr"/>
          <a:lstStyle/>
          <a:p>
            <a:pPr marL="720707"/>
            <a:r>
              <a:rPr lang="es-E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ilidad grandes ayuntamientos</a:t>
            </a:r>
          </a:p>
        </p:txBody>
      </p:sp>
      <p:pic>
        <p:nvPicPr>
          <p:cNvPr id="36" name="Imagen 35">
            <a:extLst>
              <a:ext uri="{FF2B5EF4-FFF2-40B4-BE49-F238E27FC236}">
                <a16:creationId xmlns:a16="http://schemas.microsoft.com/office/drawing/2014/main" id="{87710737-5907-4323-894B-09A2523372E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33656" y="1357074"/>
            <a:ext cx="97536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8729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1 Título">
            <a:extLst>
              <a:ext uri="{FF2B5EF4-FFF2-40B4-BE49-F238E27FC236}">
                <a16:creationId xmlns:a16="http://schemas.microsoft.com/office/drawing/2014/main" id="{09789E6D-1BEA-43FA-878B-677AF0C75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903" y="-148287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JECUCIÓN DE LA </a:t>
            </a:r>
            <a:r>
              <a:rPr lang="es-ES" sz="2667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R: Manifestaciones de Interés</a:t>
            </a:r>
          </a:p>
        </p:txBody>
      </p:sp>
      <p:cxnSp>
        <p:nvCxnSpPr>
          <p:cNvPr id="43" name="5 Conector recto">
            <a:extLst>
              <a:ext uri="{FF2B5EF4-FFF2-40B4-BE49-F238E27FC236}">
                <a16:creationId xmlns:a16="http://schemas.microsoft.com/office/drawing/2014/main" id="{A66C880A-EE9E-444A-9910-4BA33DBB13DB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2">
            <a:extLst>
              <a:ext uri="{FF2B5EF4-FFF2-40B4-BE49-F238E27FC236}">
                <a16:creationId xmlns:a16="http://schemas.microsoft.com/office/drawing/2014/main" id="{67A28CFD-6CF8-4B48-B39D-65C821F42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2D07B678-38E8-4F78-B5C8-FFEE31500B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2402" y="830032"/>
            <a:ext cx="7390541" cy="5861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1241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1 Título">
            <a:extLst>
              <a:ext uri="{FF2B5EF4-FFF2-40B4-BE49-F238E27FC236}">
                <a16:creationId xmlns:a16="http://schemas.microsoft.com/office/drawing/2014/main" id="{09789E6D-1BEA-43FA-878B-677AF0C75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903" y="-148287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JECUCIÓN DE LA </a:t>
            </a:r>
            <a:r>
              <a:rPr lang="es-ES" sz="2667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R: Manifestaciones de Interés</a:t>
            </a:r>
          </a:p>
        </p:txBody>
      </p:sp>
      <p:cxnSp>
        <p:nvCxnSpPr>
          <p:cNvPr id="43" name="5 Conector recto">
            <a:extLst>
              <a:ext uri="{FF2B5EF4-FFF2-40B4-BE49-F238E27FC236}">
                <a16:creationId xmlns:a16="http://schemas.microsoft.com/office/drawing/2014/main" id="{A66C880A-EE9E-444A-9910-4BA33DBB13DB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2">
            <a:extLst>
              <a:ext uri="{FF2B5EF4-FFF2-40B4-BE49-F238E27FC236}">
                <a16:creationId xmlns:a16="http://schemas.microsoft.com/office/drawing/2014/main" id="{67A28CFD-6CF8-4B48-B39D-65C821F42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62C27F8B-819E-46C7-8151-0F38B47861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2378" y="1714500"/>
            <a:ext cx="7824661" cy="4498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626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3">
            <a:extLst>
              <a:ext uri="{FF2B5EF4-FFF2-40B4-BE49-F238E27FC236}">
                <a16:creationId xmlns:a16="http://schemas.microsoft.com/office/drawing/2014/main" id="{2D3A3BAE-51DA-42C2-BE91-EB1EECA24F5F}"/>
              </a:ext>
            </a:extLst>
          </p:cNvPr>
          <p:cNvSpPr txBox="1"/>
          <p:nvPr/>
        </p:nvSpPr>
        <p:spPr>
          <a:xfrm>
            <a:off x="412066" y="1490122"/>
            <a:ext cx="11583080" cy="504753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400" noProof="0" dirty="0">
                <a:cs typeface="Arial" pitchFamily="34" charset="0"/>
              </a:rPr>
              <a:t>Tienen un </a:t>
            </a:r>
            <a:r>
              <a:rPr lang="es-ES" sz="2400" b="1" i="1" noProof="0" dirty="0">
                <a:cs typeface="Arial" pitchFamily="34" charset="0"/>
              </a:rPr>
              <a:t>tamaño significativo </a:t>
            </a:r>
            <a:r>
              <a:rPr lang="es-ES" sz="2400" noProof="0" dirty="0">
                <a:cs typeface="Arial" pitchFamily="34" charset="0"/>
              </a:rPr>
              <a:t>(mínimo 50 – 100 millones de euros)</a:t>
            </a: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400" dirty="0">
              <a:cs typeface="Arial" pitchFamily="34" charset="0"/>
            </a:endParaRP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400" noProof="0" dirty="0">
                <a:cs typeface="Arial" pitchFamily="34" charset="0"/>
              </a:rPr>
              <a:t>Deben acudir </a:t>
            </a:r>
            <a:r>
              <a:rPr lang="es-ES" sz="2400" dirty="0">
                <a:cs typeface="Arial" pitchFamily="34" charset="0"/>
              </a:rPr>
              <a:t>en consorcio con </a:t>
            </a:r>
            <a:r>
              <a:rPr lang="es-ES" sz="2400" b="1" i="1" dirty="0">
                <a:cs typeface="Arial" pitchFamily="34" charset="0"/>
              </a:rPr>
              <a:t>presencia de varias empresas</a:t>
            </a: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400" noProof="0" dirty="0">
              <a:cs typeface="Arial" pitchFamily="34" charset="0"/>
            </a:endParaRP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400" noProof="0" dirty="0">
                <a:cs typeface="Arial" pitchFamily="34" charset="0"/>
              </a:rPr>
              <a:t>Generan un </a:t>
            </a:r>
            <a:r>
              <a:rPr lang="es-ES" sz="2400" b="1" i="1" noProof="0" dirty="0">
                <a:cs typeface="Arial" pitchFamily="34" charset="0"/>
              </a:rPr>
              <a:t>impacto sobre el conjunto del tejido económico</a:t>
            </a:r>
            <a:r>
              <a:rPr lang="es-ES" sz="2400" noProof="0" dirty="0">
                <a:cs typeface="Arial" pitchFamily="34" charset="0"/>
              </a:rPr>
              <a:t>: su efecto trasciende de un único sector o territorio</a:t>
            </a: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400" dirty="0">
              <a:cs typeface="Arial" pitchFamily="34" charset="0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400" dirty="0">
                <a:cs typeface="Arial" pitchFamily="34" charset="0"/>
              </a:rPr>
              <a:t>Tienen impacto significativo en la </a:t>
            </a:r>
            <a:r>
              <a:rPr lang="es-ES" sz="2400" b="1" i="1" dirty="0">
                <a:cs typeface="Arial" pitchFamily="34" charset="0"/>
              </a:rPr>
              <a:t>competitividad</a:t>
            </a:r>
            <a:r>
              <a:rPr lang="es-ES" sz="2400" dirty="0">
                <a:cs typeface="Arial" pitchFamily="34" charset="0"/>
              </a:rPr>
              <a:t>, y contribuir a la </a:t>
            </a:r>
            <a:r>
              <a:rPr lang="es-ES" sz="2400" b="1" i="1" dirty="0">
                <a:cs typeface="Arial" pitchFamily="34" charset="0"/>
              </a:rPr>
              <a:t>doble transición verde y digital</a:t>
            </a:r>
            <a:r>
              <a:rPr lang="es-ES" sz="2400" dirty="0">
                <a:cs typeface="Arial" pitchFamily="34" charset="0"/>
              </a:rPr>
              <a:t> </a:t>
            </a:r>
            <a:endParaRPr lang="es-ES" sz="2400" noProof="0" dirty="0">
              <a:cs typeface="Arial" pitchFamily="34" charset="0"/>
            </a:endParaRPr>
          </a:p>
          <a:p>
            <a:pPr algn="l">
              <a:spcAft>
                <a:spcPts val="600"/>
              </a:spcAft>
            </a:pPr>
            <a:endParaRPr lang="es-ES" sz="2400" dirty="0">
              <a:cs typeface="Arial" pitchFamily="34" charset="0"/>
            </a:endParaRP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400" noProof="0" dirty="0">
                <a:cs typeface="Arial" pitchFamily="34" charset="0"/>
              </a:rPr>
              <a:t>Cuentan con la </a:t>
            </a:r>
            <a:r>
              <a:rPr lang="es-ES" sz="2400" b="1" i="1" noProof="0" dirty="0">
                <a:cs typeface="Arial" pitchFamily="34" charset="0"/>
              </a:rPr>
              <a:t>colaboración de centros tecnológicos, </a:t>
            </a:r>
            <a:r>
              <a:rPr lang="es-ES" sz="2400" b="1" i="1" noProof="0" dirty="0">
                <a:solidFill>
                  <a:srgbClr val="FF0000"/>
                </a:solidFill>
                <a:cs typeface="Arial" pitchFamily="34" charset="0"/>
              </a:rPr>
              <a:t>universidades</a:t>
            </a:r>
            <a:r>
              <a:rPr lang="es-ES" sz="2400" noProof="0" dirty="0">
                <a:cs typeface="Arial" pitchFamily="34" charset="0"/>
              </a:rPr>
              <a:t>, etc. como especialistas en el desarrollo de proyectos I+D </a:t>
            </a: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979851" y="-251158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aracterísticas de un PERTE – Lista tentativa, en función de cada convocatoria</a:t>
            </a:r>
          </a:p>
        </p:txBody>
      </p:sp>
      <p:cxnSp>
        <p:nvCxnSpPr>
          <p:cNvPr id="49" name="9 Conector recto">
            <a:extLst>
              <a:ext uri="{FF2B5EF4-FFF2-40B4-BE49-F238E27FC236}">
                <a16:creationId xmlns:a16="http://schemas.microsoft.com/office/drawing/2014/main" id="{28AC44F1-DC2B-4CB8-8B10-DA4CC8A0B8AC}"/>
              </a:ext>
            </a:extLst>
          </p:cNvPr>
          <p:cNvCxnSpPr>
            <a:cxnSpLocks/>
          </p:cNvCxnSpPr>
          <p:nvPr/>
        </p:nvCxnSpPr>
        <p:spPr>
          <a:xfrm>
            <a:off x="8219090" y="644691"/>
            <a:ext cx="37335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205783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id="{6B1D355E-A1CE-41F1-9347-811BF2E5DE3E}"/>
              </a:ext>
            </a:extLst>
          </p:cNvPr>
          <p:cNvSpPr/>
          <p:nvPr/>
        </p:nvSpPr>
        <p:spPr>
          <a:xfrm>
            <a:off x="457530" y="2030497"/>
            <a:ext cx="10699997" cy="271699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Subtítulo 2">
            <a:extLst>
              <a:ext uri="{FF2B5EF4-FFF2-40B4-BE49-F238E27FC236}">
                <a16:creationId xmlns:a16="http://schemas.microsoft.com/office/drawing/2014/main" id="{5C2E26FA-05A2-4A56-AF24-42DDD9AA358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691819" y="887497"/>
            <a:ext cx="10965543" cy="270969"/>
          </a:xfrm>
        </p:spPr>
        <p:txBody>
          <a:bodyPr/>
          <a:lstStyle/>
          <a:p>
            <a:r>
              <a:rPr lang="es-ES" sz="2400" dirty="0"/>
              <a:t>Lista tentativa no confirmada</a:t>
            </a:r>
          </a:p>
        </p:txBody>
      </p:sp>
      <p:sp>
        <p:nvSpPr>
          <p:cNvPr id="23" name="TextBox 3">
            <a:extLst>
              <a:ext uri="{FF2B5EF4-FFF2-40B4-BE49-F238E27FC236}">
                <a16:creationId xmlns:a16="http://schemas.microsoft.com/office/drawing/2014/main" id="{37FB7F1D-2598-4986-BE3C-59A40893C3EE}"/>
              </a:ext>
            </a:extLst>
          </p:cNvPr>
          <p:cNvSpPr txBox="1"/>
          <p:nvPr/>
        </p:nvSpPr>
        <p:spPr>
          <a:xfrm>
            <a:off x="608919" y="1549132"/>
            <a:ext cx="10892177" cy="30777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s-ES" sz="2000" noProof="0" dirty="0">
                <a:cs typeface="Arial" pitchFamily="34" charset="0"/>
              </a:rPr>
              <a:t>Actúan sobre </a:t>
            </a:r>
            <a:r>
              <a:rPr lang="es-ES" sz="2000" b="1" i="1" noProof="0" dirty="0">
                <a:cs typeface="Arial" pitchFamily="34" charset="0"/>
              </a:rPr>
              <a:t>sectores calificados como estratégicos,</a:t>
            </a:r>
            <a:r>
              <a:rPr lang="es-ES" sz="2000" b="1" noProof="0" dirty="0">
                <a:cs typeface="Arial" pitchFamily="34" charset="0"/>
              </a:rPr>
              <a:t> </a:t>
            </a:r>
            <a:r>
              <a:rPr lang="es-ES" sz="2000" noProof="0" dirty="0">
                <a:cs typeface="Arial" pitchFamily="34" charset="0"/>
              </a:rPr>
              <a:t>que a expensas de que se amplíe la lista, incluye:</a:t>
            </a:r>
          </a:p>
        </p:txBody>
      </p:sp>
      <p:grpSp>
        <p:nvGrpSpPr>
          <p:cNvPr id="24" name="Group 1883">
            <a:extLst>
              <a:ext uri="{FF2B5EF4-FFF2-40B4-BE49-F238E27FC236}">
                <a16:creationId xmlns:a16="http://schemas.microsoft.com/office/drawing/2014/main" id="{027CD510-9521-4977-974A-BE0B019CD464}"/>
              </a:ext>
            </a:extLst>
          </p:cNvPr>
          <p:cNvGrpSpPr/>
          <p:nvPr/>
        </p:nvGrpSpPr>
        <p:grpSpPr>
          <a:xfrm>
            <a:off x="8873507" y="2315302"/>
            <a:ext cx="377876" cy="377876"/>
            <a:chOff x="592807" y="4690710"/>
            <a:chExt cx="612000" cy="612000"/>
          </a:xfrm>
        </p:grpSpPr>
        <p:sp>
          <p:nvSpPr>
            <p:cNvPr id="25" name="Oval 259">
              <a:extLst>
                <a:ext uri="{FF2B5EF4-FFF2-40B4-BE49-F238E27FC236}">
                  <a16:creationId xmlns:a16="http://schemas.microsoft.com/office/drawing/2014/main" id="{AA540768-8E46-42A3-8922-8D8212DA95B3}"/>
                </a:ext>
              </a:extLst>
            </p:cNvPr>
            <p:cNvSpPr/>
            <p:nvPr/>
          </p:nvSpPr>
          <p:spPr bwMode="ltGray">
            <a:xfrm>
              <a:off x="592807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6" name="Freeform 4983">
              <a:extLst>
                <a:ext uri="{FF2B5EF4-FFF2-40B4-BE49-F238E27FC236}">
                  <a16:creationId xmlns:a16="http://schemas.microsoft.com/office/drawing/2014/main" id="{FD371893-259E-48FB-A26A-FC07293BE8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4506" y="4805283"/>
              <a:ext cx="448603" cy="421929"/>
            </a:xfrm>
            <a:custGeom>
              <a:avLst/>
              <a:gdLst>
                <a:gd name="T0" fmla="*/ 168 w 370"/>
                <a:gd name="T1" fmla="*/ 282 h 348"/>
                <a:gd name="T2" fmla="*/ 252 w 370"/>
                <a:gd name="T3" fmla="*/ 272 h 348"/>
                <a:gd name="T4" fmla="*/ 304 w 370"/>
                <a:gd name="T5" fmla="*/ 204 h 348"/>
                <a:gd name="T6" fmla="*/ 312 w 370"/>
                <a:gd name="T7" fmla="*/ 168 h 348"/>
                <a:gd name="T8" fmla="*/ 318 w 370"/>
                <a:gd name="T9" fmla="*/ 166 h 348"/>
                <a:gd name="T10" fmla="*/ 328 w 370"/>
                <a:gd name="T11" fmla="*/ 176 h 348"/>
                <a:gd name="T12" fmla="*/ 314 w 370"/>
                <a:gd name="T13" fmla="*/ 234 h 348"/>
                <a:gd name="T14" fmla="*/ 274 w 370"/>
                <a:gd name="T15" fmla="*/ 282 h 348"/>
                <a:gd name="T16" fmla="*/ 214 w 370"/>
                <a:gd name="T17" fmla="*/ 306 h 348"/>
                <a:gd name="T18" fmla="*/ 164 w 370"/>
                <a:gd name="T19" fmla="*/ 302 h 348"/>
                <a:gd name="T20" fmla="*/ 126 w 370"/>
                <a:gd name="T21" fmla="*/ 282 h 348"/>
                <a:gd name="T22" fmla="*/ 134 w 370"/>
                <a:gd name="T23" fmla="*/ 270 h 348"/>
                <a:gd name="T24" fmla="*/ 174 w 370"/>
                <a:gd name="T25" fmla="*/ 262 h 348"/>
                <a:gd name="T26" fmla="*/ 220 w 370"/>
                <a:gd name="T27" fmla="*/ 262 h 348"/>
                <a:gd name="T28" fmla="*/ 268 w 370"/>
                <a:gd name="T29" fmla="*/ 230 h 348"/>
                <a:gd name="T30" fmla="*/ 286 w 370"/>
                <a:gd name="T31" fmla="*/ 176 h 348"/>
                <a:gd name="T32" fmla="*/ 276 w 370"/>
                <a:gd name="T33" fmla="*/ 166 h 348"/>
                <a:gd name="T34" fmla="*/ 266 w 370"/>
                <a:gd name="T35" fmla="*/ 176 h 348"/>
                <a:gd name="T36" fmla="*/ 252 w 370"/>
                <a:gd name="T37" fmla="*/ 218 h 348"/>
                <a:gd name="T38" fmla="*/ 206 w 370"/>
                <a:gd name="T39" fmla="*/ 244 h 348"/>
                <a:gd name="T40" fmla="*/ 162 w 370"/>
                <a:gd name="T41" fmla="*/ 236 h 348"/>
                <a:gd name="T42" fmla="*/ 148 w 370"/>
                <a:gd name="T43" fmla="*/ 238 h 348"/>
                <a:gd name="T44" fmla="*/ 152 w 370"/>
                <a:gd name="T45" fmla="*/ 252 h 348"/>
                <a:gd name="T46" fmla="*/ 232 w 370"/>
                <a:gd name="T47" fmla="*/ 126 h 348"/>
                <a:gd name="T48" fmla="*/ 336 w 370"/>
                <a:gd name="T49" fmla="*/ 72 h 348"/>
                <a:gd name="T50" fmla="*/ 340 w 370"/>
                <a:gd name="T51" fmla="*/ 6 h 348"/>
                <a:gd name="T52" fmla="*/ 232 w 370"/>
                <a:gd name="T53" fmla="*/ 56 h 348"/>
                <a:gd name="T54" fmla="*/ 228 w 370"/>
                <a:gd name="T55" fmla="*/ 116 h 348"/>
                <a:gd name="T56" fmla="*/ 116 w 370"/>
                <a:gd name="T57" fmla="*/ 106 h 348"/>
                <a:gd name="T58" fmla="*/ 114 w 370"/>
                <a:gd name="T59" fmla="*/ 72 h 348"/>
                <a:gd name="T60" fmla="*/ 136 w 370"/>
                <a:gd name="T61" fmla="*/ 54 h 348"/>
                <a:gd name="T62" fmla="*/ 168 w 370"/>
                <a:gd name="T63" fmla="*/ 60 h 348"/>
                <a:gd name="T64" fmla="*/ 228 w 370"/>
                <a:gd name="T65" fmla="*/ 158 h 348"/>
                <a:gd name="T66" fmla="*/ 222 w 370"/>
                <a:gd name="T67" fmla="*/ 192 h 348"/>
                <a:gd name="T68" fmla="*/ 194 w 370"/>
                <a:gd name="T69" fmla="*/ 206 h 348"/>
                <a:gd name="T70" fmla="*/ 162 w 370"/>
                <a:gd name="T71" fmla="*/ 188 h 348"/>
                <a:gd name="T72" fmla="*/ 184 w 370"/>
                <a:gd name="T73" fmla="*/ 180 h 348"/>
                <a:gd name="T74" fmla="*/ 204 w 370"/>
                <a:gd name="T75" fmla="*/ 180 h 348"/>
                <a:gd name="T76" fmla="*/ 204 w 370"/>
                <a:gd name="T77" fmla="*/ 160 h 348"/>
                <a:gd name="T78" fmla="*/ 184 w 370"/>
                <a:gd name="T79" fmla="*/ 160 h 348"/>
                <a:gd name="T80" fmla="*/ 114 w 370"/>
                <a:gd name="T81" fmla="*/ 142 h 348"/>
                <a:gd name="T82" fmla="*/ 104 w 370"/>
                <a:gd name="T83" fmla="*/ 132 h 348"/>
                <a:gd name="T84" fmla="*/ 0 w 370"/>
                <a:gd name="T85" fmla="*/ 196 h 348"/>
                <a:gd name="T86" fmla="*/ 4 w 370"/>
                <a:gd name="T87" fmla="*/ 256 h 348"/>
                <a:gd name="T88" fmla="*/ 108 w 370"/>
                <a:gd name="T89" fmla="*/ 202 h 348"/>
                <a:gd name="T90" fmla="*/ 360 w 370"/>
                <a:gd name="T91" fmla="*/ 166 h 348"/>
                <a:gd name="T92" fmla="*/ 350 w 370"/>
                <a:gd name="T93" fmla="*/ 176 h 348"/>
                <a:gd name="T94" fmla="*/ 334 w 370"/>
                <a:gd name="T95" fmla="*/ 244 h 348"/>
                <a:gd name="T96" fmla="*/ 286 w 370"/>
                <a:gd name="T97" fmla="*/ 300 h 348"/>
                <a:gd name="T98" fmla="*/ 232 w 370"/>
                <a:gd name="T99" fmla="*/ 324 h 348"/>
                <a:gd name="T100" fmla="*/ 158 w 370"/>
                <a:gd name="T101" fmla="*/ 324 h 348"/>
                <a:gd name="T102" fmla="*/ 116 w 370"/>
                <a:gd name="T103" fmla="*/ 306 h 348"/>
                <a:gd name="T104" fmla="*/ 106 w 370"/>
                <a:gd name="T105" fmla="*/ 316 h 348"/>
                <a:gd name="T106" fmla="*/ 130 w 370"/>
                <a:gd name="T107" fmla="*/ 336 h 348"/>
                <a:gd name="T108" fmla="*/ 198 w 370"/>
                <a:gd name="T109" fmla="*/ 348 h 348"/>
                <a:gd name="T110" fmla="*/ 284 w 370"/>
                <a:gd name="T111" fmla="*/ 326 h 348"/>
                <a:gd name="T112" fmla="*/ 344 w 370"/>
                <a:gd name="T113" fmla="*/ 266 h 348"/>
                <a:gd name="T114" fmla="*/ 368 w 370"/>
                <a:gd name="T115" fmla="*/ 198 h 348"/>
                <a:gd name="T116" fmla="*/ 364 w 370"/>
                <a:gd name="T117" fmla="*/ 166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70" h="348">
                  <a:moveTo>
                    <a:pt x="142" y="272"/>
                  </a:moveTo>
                  <a:lnTo>
                    <a:pt x="142" y="272"/>
                  </a:lnTo>
                  <a:lnTo>
                    <a:pt x="154" y="278"/>
                  </a:lnTo>
                  <a:lnTo>
                    <a:pt x="168" y="282"/>
                  </a:lnTo>
                  <a:lnTo>
                    <a:pt x="168" y="282"/>
                  </a:lnTo>
                  <a:lnTo>
                    <a:pt x="190" y="286"/>
                  </a:lnTo>
                  <a:lnTo>
                    <a:pt x="212" y="286"/>
                  </a:lnTo>
                  <a:lnTo>
                    <a:pt x="232" y="280"/>
                  </a:lnTo>
                  <a:lnTo>
                    <a:pt x="252" y="272"/>
                  </a:lnTo>
                  <a:lnTo>
                    <a:pt x="252" y="272"/>
                  </a:lnTo>
                  <a:lnTo>
                    <a:pt x="270" y="258"/>
                  </a:lnTo>
                  <a:lnTo>
                    <a:pt x="286" y="242"/>
                  </a:lnTo>
                  <a:lnTo>
                    <a:pt x="296" y="224"/>
                  </a:lnTo>
                  <a:lnTo>
                    <a:pt x="304" y="204"/>
                  </a:lnTo>
                  <a:lnTo>
                    <a:pt x="304" y="204"/>
                  </a:lnTo>
                  <a:lnTo>
                    <a:pt x="308" y="190"/>
                  </a:lnTo>
                  <a:lnTo>
                    <a:pt x="308" y="176"/>
                  </a:lnTo>
                  <a:lnTo>
                    <a:pt x="308" y="176"/>
                  </a:lnTo>
                  <a:lnTo>
                    <a:pt x="308" y="172"/>
                  </a:lnTo>
                  <a:lnTo>
                    <a:pt x="312" y="168"/>
                  </a:lnTo>
                  <a:lnTo>
                    <a:pt x="314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22" y="166"/>
                  </a:lnTo>
                  <a:lnTo>
                    <a:pt x="326" y="168"/>
                  </a:lnTo>
                  <a:lnTo>
                    <a:pt x="328" y="172"/>
                  </a:lnTo>
                  <a:lnTo>
                    <a:pt x="328" y="176"/>
                  </a:lnTo>
                  <a:lnTo>
                    <a:pt x="328" y="176"/>
                  </a:lnTo>
                  <a:lnTo>
                    <a:pt x="328" y="192"/>
                  </a:lnTo>
                  <a:lnTo>
                    <a:pt x="324" y="210"/>
                  </a:lnTo>
                  <a:lnTo>
                    <a:pt x="324" y="210"/>
                  </a:lnTo>
                  <a:lnTo>
                    <a:pt x="320" y="222"/>
                  </a:lnTo>
                  <a:lnTo>
                    <a:pt x="314" y="234"/>
                  </a:lnTo>
                  <a:lnTo>
                    <a:pt x="308" y="244"/>
                  </a:lnTo>
                  <a:lnTo>
                    <a:pt x="302" y="254"/>
                  </a:lnTo>
                  <a:lnTo>
                    <a:pt x="292" y="264"/>
                  </a:lnTo>
                  <a:lnTo>
                    <a:pt x="284" y="274"/>
                  </a:lnTo>
                  <a:lnTo>
                    <a:pt x="274" y="282"/>
                  </a:lnTo>
                  <a:lnTo>
                    <a:pt x="262" y="288"/>
                  </a:lnTo>
                  <a:lnTo>
                    <a:pt x="262" y="288"/>
                  </a:lnTo>
                  <a:lnTo>
                    <a:pt x="248" y="296"/>
                  </a:lnTo>
                  <a:lnTo>
                    <a:pt x="230" y="302"/>
                  </a:lnTo>
                  <a:lnTo>
                    <a:pt x="214" y="306"/>
                  </a:lnTo>
                  <a:lnTo>
                    <a:pt x="198" y="306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64" y="302"/>
                  </a:lnTo>
                  <a:lnTo>
                    <a:pt x="164" y="302"/>
                  </a:lnTo>
                  <a:lnTo>
                    <a:pt x="146" y="296"/>
                  </a:lnTo>
                  <a:lnTo>
                    <a:pt x="132" y="288"/>
                  </a:lnTo>
                  <a:lnTo>
                    <a:pt x="132" y="288"/>
                  </a:lnTo>
                  <a:lnTo>
                    <a:pt x="128" y="286"/>
                  </a:lnTo>
                  <a:lnTo>
                    <a:pt x="126" y="282"/>
                  </a:lnTo>
                  <a:lnTo>
                    <a:pt x="126" y="278"/>
                  </a:lnTo>
                  <a:lnTo>
                    <a:pt x="128" y="276"/>
                  </a:lnTo>
                  <a:lnTo>
                    <a:pt x="128" y="276"/>
                  </a:lnTo>
                  <a:lnTo>
                    <a:pt x="130" y="272"/>
                  </a:lnTo>
                  <a:lnTo>
                    <a:pt x="134" y="270"/>
                  </a:lnTo>
                  <a:lnTo>
                    <a:pt x="138" y="270"/>
                  </a:lnTo>
                  <a:lnTo>
                    <a:pt x="142" y="272"/>
                  </a:lnTo>
                  <a:lnTo>
                    <a:pt x="142" y="27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86" y="264"/>
                  </a:lnTo>
                  <a:lnTo>
                    <a:pt x="198" y="264"/>
                  </a:lnTo>
                  <a:lnTo>
                    <a:pt x="198" y="264"/>
                  </a:lnTo>
                  <a:lnTo>
                    <a:pt x="208" y="264"/>
                  </a:lnTo>
                  <a:lnTo>
                    <a:pt x="220" y="262"/>
                  </a:lnTo>
                  <a:lnTo>
                    <a:pt x="232" y="258"/>
                  </a:lnTo>
                  <a:lnTo>
                    <a:pt x="242" y="252"/>
                  </a:lnTo>
                  <a:lnTo>
                    <a:pt x="242" y="252"/>
                  </a:lnTo>
                  <a:lnTo>
                    <a:pt x="256" y="242"/>
                  </a:lnTo>
                  <a:lnTo>
                    <a:pt x="268" y="230"/>
                  </a:lnTo>
                  <a:lnTo>
                    <a:pt x="276" y="214"/>
                  </a:lnTo>
                  <a:lnTo>
                    <a:pt x="284" y="198"/>
                  </a:lnTo>
                  <a:lnTo>
                    <a:pt x="284" y="198"/>
                  </a:lnTo>
                  <a:lnTo>
                    <a:pt x="286" y="186"/>
                  </a:lnTo>
                  <a:lnTo>
                    <a:pt x="286" y="176"/>
                  </a:lnTo>
                  <a:lnTo>
                    <a:pt x="286" y="176"/>
                  </a:lnTo>
                  <a:lnTo>
                    <a:pt x="286" y="172"/>
                  </a:lnTo>
                  <a:lnTo>
                    <a:pt x="284" y="168"/>
                  </a:lnTo>
                  <a:lnTo>
                    <a:pt x="280" y="166"/>
                  </a:lnTo>
                  <a:lnTo>
                    <a:pt x="276" y="166"/>
                  </a:lnTo>
                  <a:lnTo>
                    <a:pt x="276" y="166"/>
                  </a:lnTo>
                  <a:lnTo>
                    <a:pt x="272" y="166"/>
                  </a:lnTo>
                  <a:lnTo>
                    <a:pt x="270" y="168"/>
                  </a:lnTo>
                  <a:lnTo>
                    <a:pt x="266" y="172"/>
                  </a:lnTo>
                  <a:lnTo>
                    <a:pt x="266" y="176"/>
                  </a:lnTo>
                  <a:lnTo>
                    <a:pt x="266" y="176"/>
                  </a:lnTo>
                  <a:lnTo>
                    <a:pt x="264" y="192"/>
                  </a:lnTo>
                  <a:lnTo>
                    <a:pt x="264" y="192"/>
                  </a:lnTo>
                  <a:lnTo>
                    <a:pt x="258" y="206"/>
                  </a:lnTo>
                  <a:lnTo>
                    <a:pt x="252" y="218"/>
                  </a:lnTo>
                  <a:lnTo>
                    <a:pt x="242" y="228"/>
                  </a:lnTo>
                  <a:lnTo>
                    <a:pt x="232" y="234"/>
                  </a:lnTo>
                  <a:lnTo>
                    <a:pt x="232" y="234"/>
                  </a:lnTo>
                  <a:lnTo>
                    <a:pt x="220" y="240"/>
                  </a:lnTo>
                  <a:lnTo>
                    <a:pt x="206" y="244"/>
                  </a:lnTo>
                  <a:lnTo>
                    <a:pt x="192" y="244"/>
                  </a:lnTo>
                  <a:lnTo>
                    <a:pt x="180" y="242"/>
                  </a:lnTo>
                  <a:lnTo>
                    <a:pt x="180" y="242"/>
                  </a:lnTo>
                  <a:lnTo>
                    <a:pt x="162" y="236"/>
                  </a:lnTo>
                  <a:lnTo>
                    <a:pt x="162" y="236"/>
                  </a:lnTo>
                  <a:lnTo>
                    <a:pt x="158" y="234"/>
                  </a:lnTo>
                  <a:lnTo>
                    <a:pt x="154" y="234"/>
                  </a:lnTo>
                  <a:lnTo>
                    <a:pt x="152" y="236"/>
                  </a:lnTo>
                  <a:lnTo>
                    <a:pt x="148" y="238"/>
                  </a:lnTo>
                  <a:lnTo>
                    <a:pt x="148" y="238"/>
                  </a:lnTo>
                  <a:lnTo>
                    <a:pt x="148" y="242"/>
                  </a:lnTo>
                  <a:lnTo>
                    <a:pt x="148" y="246"/>
                  </a:lnTo>
                  <a:lnTo>
                    <a:pt x="150" y="250"/>
                  </a:lnTo>
                  <a:lnTo>
                    <a:pt x="152" y="252"/>
                  </a:lnTo>
                  <a:lnTo>
                    <a:pt x="152" y="252"/>
                  </a:lnTo>
                  <a:lnTo>
                    <a:pt x="162" y="258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232" y="126"/>
                  </a:moveTo>
                  <a:lnTo>
                    <a:pt x="232" y="126"/>
                  </a:lnTo>
                  <a:lnTo>
                    <a:pt x="238" y="126"/>
                  </a:lnTo>
                  <a:lnTo>
                    <a:pt x="238" y="126"/>
                  </a:lnTo>
                  <a:lnTo>
                    <a:pt x="242" y="126"/>
                  </a:lnTo>
                  <a:lnTo>
                    <a:pt x="336" y="72"/>
                  </a:lnTo>
                  <a:lnTo>
                    <a:pt x="336" y="72"/>
                  </a:lnTo>
                  <a:lnTo>
                    <a:pt x="340" y="68"/>
                  </a:lnTo>
                  <a:lnTo>
                    <a:pt x="342" y="62"/>
                  </a:lnTo>
                  <a:lnTo>
                    <a:pt x="342" y="10"/>
                  </a:lnTo>
                  <a:lnTo>
                    <a:pt x="342" y="10"/>
                  </a:lnTo>
                  <a:lnTo>
                    <a:pt x="340" y="6"/>
                  </a:lnTo>
                  <a:lnTo>
                    <a:pt x="336" y="2"/>
                  </a:lnTo>
                  <a:lnTo>
                    <a:pt x="336" y="2"/>
                  </a:lnTo>
                  <a:lnTo>
                    <a:pt x="332" y="0"/>
                  </a:lnTo>
                  <a:lnTo>
                    <a:pt x="326" y="2"/>
                  </a:lnTo>
                  <a:lnTo>
                    <a:pt x="232" y="56"/>
                  </a:lnTo>
                  <a:lnTo>
                    <a:pt x="232" y="56"/>
                  </a:lnTo>
                  <a:lnTo>
                    <a:pt x="230" y="60"/>
                  </a:lnTo>
                  <a:lnTo>
                    <a:pt x="228" y="64"/>
                  </a:lnTo>
                  <a:lnTo>
                    <a:pt x="228" y="116"/>
                  </a:lnTo>
                  <a:lnTo>
                    <a:pt x="228" y="116"/>
                  </a:lnTo>
                  <a:lnTo>
                    <a:pt x="230" y="122"/>
                  </a:lnTo>
                  <a:lnTo>
                    <a:pt x="232" y="126"/>
                  </a:lnTo>
                  <a:lnTo>
                    <a:pt x="232" y="126"/>
                  </a:lnTo>
                  <a:close/>
                  <a:moveTo>
                    <a:pt x="116" y="106"/>
                  </a:moveTo>
                  <a:lnTo>
                    <a:pt x="116" y="106"/>
                  </a:lnTo>
                  <a:lnTo>
                    <a:pt x="112" y="100"/>
                  </a:lnTo>
                  <a:lnTo>
                    <a:pt x="112" y="94"/>
                  </a:lnTo>
                  <a:lnTo>
                    <a:pt x="112" y="86"/>
                  </a:lnTo>
                  <a:lnTo>
                    <a:pt x="112" y="80"/>
                  </a:lnTo>
                  <a:lnTo>
                    <a:pt x="114" y="72"/>
                  </a:lnTo>
                  <a:lnTo>
                    <a:pt x="118" y="66"/>
                  </a:lnTo>
                  <a:lnTo>
                    <a:pt x="124" y="62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6" y="54"/>
                  </a:lnTo>
                  <a:lnTo>
                    <a:pt x="142" y="52"/>
                  </a:lnTo>
                  <a:lnTo>
                    <a:pt x="150" y="52"/>
                  </a:lnTo>
                  <a:lnTo>
                    <a:pt x="156" y="54"/>
                  </a:lnTo>
                  <a:lnTo>
                    <a:pt x="162" y="56"/>
                  </a:lnTo>
                  <a:lnTo>
                    <a:pt x="168" y="60"/>
                  </a:lnTo>
                  <a:lnTo>
                    <a:pt x="174" y="64"/>
                  </a:lnTo>
                  <a:lnTo>
                    <a:pt x="178" y="70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8" y="158"/>
                  </a:lnTo>
                  <a:lnTo>
                    <a:pt x="230" y="166"/>
                  </a:lnTo>
                  <a:lnTo>
                    <a:pt x="230" y="172"/>
                  </a:lnTo>
                  <a:lnTo>
                    <a:pt x="228" y="180"/>
                  </a:lnTo>
                  <a:lnTo>
                    <a:pt x="226" y="186"/>
                  </a:lnTo>
                  <a:lnTo>
                    <a:pt x="222" y="192"/>
                  </a:lnTo>
                  <a:lnTo>
                    <a:pt x="218" y="196"/>
                  </a:lnTo>
                  <a:lnTo>
                    <a:pt x="212" y="202"/>
                  </a:lnTo>
                  <a:lnTo>
                    <a:pt x="212" y="202"/>
                  </a:lnTo>
                  <a:lnTo>
                    <a:pt x="204" y="204"/>
                  </a:lnTo>
                  <a:lnTo>
                    <a:pt x="194" y="206"/>
                  </a:lnTo>
                  <a:lnTo>
                    <a:pt x="194" y="206"/>
                  </a:lnTo>
                  <a:lnTo>
                    <a:pt x="184" y="204"/>
                  </a:lnTo>
                  <a:lnTo>
                    <a:pt x="176" y="202"/>
                  </a:lnTo>
                  <a:lnTo>
                    <a:pt x="168" y="196"/>
                  </a:lnTo>
                  <a:lnTo>
                    <a:pt x="162" y="188"/>
                  </a:lnTo>
                  <a:lnTo>
                    <a:pt x="116" y="106"/>
                  </a:lnTo>
                  <a:close/>
                  <a:moveTo>
                    <a:pt x="180" y="170"/>
                  </a:moveTo>
                  <a:lnTo>
                    <a:pt x="180" y="170"/>
                  </a:lnTo>
                  <a:lnTo>
                    <a:pt x="182" y="176"/>
                  </a:lnTo>
                  <a:lnTo>
                    <a:pt x="184" y="180"/>
                  </a:lnTo>
                  <a:lnTo>
                    <a:pt x="188" y="182"/>
                  </a:lnTo>
                  <a:lnTo>
                    <a:pt x="194" y="184"/>
                  </a:lnTo>
                  <a:lnTo>
                    <a:pt x="194" y="184"/>
                  </a:lnTo>
                  <a:lnTo>
                    <a:pt x="200" y="182"/>
                  </a:lnTo>
                  <a:lnTo>
                    <a:pt x="204" y="180"/>
                  </a:lnTo>
                  <a:lnTo>
                    <a:pt x="206" y="176"/>
                  </a:lnTo>
                  <a:lnTo>
                    <a:pt x="208" y="170"/>
                  </a:lnTo>
                  <a:lnTo>
                    <a:pt x="208" y="170"/>
                  </a:lnTo>
                  <a:lnTo>
                    <a:pt x="206" y="164"/>
                  </a:lnTo>
                  <a:lnTo>
                    <a:pt x="204" y="160"/>
                  </a:lnTo>
                  <a:lnTo>
                    <a:pt x="200" y="158"/>
                  </a:lnTo>
                  <a:lnTo>
                    <a:pt x="194" y="156"/>
                  </a:lnTo>
                  <a:lnTo>
                    <a:pt x="194" y="156"/>
                  </a:lnTo>
                  <a:lnTo>
                    <a:pt x="188" y="158"/>
                  </a:lnTo>
                  <a:lnTo>
                    <a:pt x="184" y="160"/>
                  </a:lnTo>
                  <a:lnTo>
                    <a:pt x="182" y="164"/>
                  </a:lnTo>
                  <a:lnTo>
                    <a:pt x="180" y="170"/>
                  </a:lnTo>
                  <a:lnTo>
                    <a:pt x="180" y="170"/>
                  </a:lnTo>
                  <a:close/>
                  <a:moveTo>
                    <a:pt x="114" y="194"/>
                  </a:moveTo>
                  <a:lnTo>
                    <a:pt x="114" y="142"/>
                  </a:lnTo>
                  <a:lnTo>
                    <a:pt x="114" y="142"/>
                  </a:lnTo>
                  <a:lnTo>
                    <a:pt x="112" y="138"/>
                  </a:lnTo>
                  <a:lnTo>
                    <a:pt x="108" y="134"/>
                  </a:lnTo>
                  <a:lnTo>
                    <a:pt x="108" y="134"/>
                  </a:lnTo>
                  <a:lnTo>
                    <a:pt x="104" y="132"/>
                  </a:lnTo>
                  <a:lnTo>
                    <a:pt x="98" y="134"/>
                  </a:lnTo>
                  <a:lnTo>
                    <a:pt x="4" y="188"/>
                  </a:lnTo>
                  <a:lnTo>
                    <a:pt x="4" y="188"/>
                  </a:lnTo>
                  <a:lnTo>
                    <a:pt x="2" y="192"/>
                  </a:lnTo>
                  <a:lnTo>
                    <a:pt x="0" y="196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2" y="254"/>
                  </a:lnTo>
                  <a:lnTo>
                    <a:pt x="4" y="256"/>
                  </a:lnTo>
                  <a:lnTo>
                    <a:pt x="4" y="256"/>
                  </a:lnTo>
                  <a:lnTo>
                    <a:pt x="10" y="258"/>
                  </a:lnTo>
                  <a:lnTo>
                    <a:pt x="10" y="258"/>
                  </a:lnTo>
                  <a:lnTo>
                    <a:pt x="14" y="256"/>
                  </a:lnTo>
                  <a:lnTo>
                    <a:pt x="108" y="202"/>
                  </a:lnTo>
                  <a:lnTo>
                    <a:pt x="108" y="202"/>
                  </a:lnTo>
                  <a:lnTo>
                    <a:pt x="112" y="200"/>
                  </a:lnTo>
                  <a:lnTo>
                    <a:pt x="114" y="194"/>
                  </a:lnTo>
                  <a:lnTo>
                    <a:pt x="114" y="194"/>
                  </a:lnTo>
                  <a:close/>
                  <a:moveTo>
                    <a:pt x="360" y="166"/>
                  </a:moveTo>
                  <a:lnTo>
                    <a:pt x="360" y="166"/>
                  </a:lnTo>
                  <a:lnTo>
                    <a:pt x="356" y="166"/>
                  </a:lnTo>
                  <a:lnTo>
                    <a:pt x="354" y="168"/>
                  </a:lnTo>
                  <a:lnTo>
                    <a:pt x="352" y="172"/>
                  </a:lnTo>
                  <a:lnTo>
                    <a:pt x="350" y="176"/>
                  </a:lnTo>
                  <a:lnTo>
                    <a:pt x="350" y="176"/>
                  </a:lnTo>
                  <a:lnTo>
                    <a:pt x="350" y="196"/>
                  </a:lnTo>
                  <a:lnTo>
                    <a:pt x="346" y="214"/>
                  </a:lnTo>
                  <a:lnTo>
                    <a:pt x="346" y="214"/>
                  </a:lnTo>
                  <a:lnTo>
                    <a:pt x="340" y="230"/>
                  </a:lnTo>
                  <a:lnTo>
                    <a:pt x="334" y="244"/>
                  </a:lnTo>
                  <a:lnTo>
                    <a:pt x="328" y="256"/>
                  </a:lnTo>
                  <a:lnTo>
                    <a:pt x="318" y="268"/>
                  </a:lnTo>
                  <a:lnTo>
                    <a:pt x="310" y="280"/>
                  </a:lnTo>
                  <a:lnTo>
                    <a:pt x="298" y="290"/>
                  </a:lnTo>
                  <a:lnTo>
                    <a:pt x="286" y="300"/>
                  </a:lnTo>
                  <a:lnTo>
                    <a:pt x="274" y="308"/>
                  </a:lnTo>
                  <a:lnTo>
                    <a:pt x="274" y="308"/>
                  </a:lnTo>
                  <a:lnTo>
                    <a:pt x="260" y="314"/>
                  </a:lnTo>
                  <a:lnTo>
                    <a:pt x="246" y="320"/>
                  </a:lnTo>
                  <a:lnTo>
                    <a:pt x="232" y="324"/>
                  </a:lnTo>
                  <a:lnTo>
                    <a:pt x="218" y="328"/>
                  </a:lnTo>
                  <a:lnTo>
                    <a:pt x="202" y="328"/>
                  </a:lnTo>
                  <a:lnTo>
                    <a:pt x="188" y="328"/>
                  </a:lnTo>
                  <a:lnTo>
                    <a:pt x="172" y="326"/>
                  </a:lnTo>
                  <a:lnTo>
                    <a:pt x="158" y="324"/>
                  </a:lnTo>
                  <a:lnTo>
                    <a:pt x="158" y="324"/>
                  </a:lnTo>
                  <a:lnTo>
                    <a:pt x="138" y="316"/>
                  </a:lnTo>
                  <a:lnTo>
                    <a:pt x="120" y="308"/>
                  </a:lnTo>
                  <a:lnTo>
                    <a:pt x="120" y="308"/>
                  </a:lnTo>
                  <a:lnTo>
                    <a:pt x="116" y="306"/>
                  </a:lnTo>
                  <a:lnTo>
                    <a:pt x="112" y="308"/>
                  </a:lnTo>
                  <a:lnTo>
                    <a:pt x="110" y="308"/>
                  </a:lnTo>
                  <a:lnTo>
                    <a:pt x="106" y="312"/>
                  </a:lnTo>
                  <a:lnTo>
                    <a:pt x="106" y="312"/>
                  </a:lnTo>
                  <a:lnTo>
                    <a:pt x="106" y="316"/>
                  </a:lnTo>
                  <a:lnTo>
                    <a:pt x="106" y="320"/>
                  </a:lnTo>
                  <a:lnTo>
                    <a:pt x="108" y="322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30" y="336"/>
                  </a:lnTo>
                  <a:lnTo>
                    <a:pt x="152" y="342"/>
                  </a:lnTo>
                  <a:lnTo>
                    <a:pt x="152" y="342"/>
                  </a:lnTo>
                  <a:lnTo>
                    <a:pt x="174" y="348"/>
                  </a:lnTo>
                  <a:lnTo>
                    <a:pt x="198" y="348"/>
                  </a:lnTo>
                  <a:lnTo>
                    <a:pt x="198" y="348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64" y="336"/>
                  </a:lnTo>
                  <a:lnTo>
                    <a:pt x="284" y="326"/>
                  </a:lnTo>
                  <a:lnTo>
                    <a:pt x="284" y="326"/>
                  </a:lnTo>
                  <a:lnTo>
                    <a:pt x="298" y="316"/>
                  </a:lnTo>
                  <a:lnTo>
                    <a:pt x="312" y="306"/>
                  </a:lnTo>
                  <a:lnTo>
                    <a:pt x="324" y="294"/>
                  </a:lnTo>
                  <a:lnTo>
                    <a:pt x="334" y="280"/>
                  </a:lnTo>
                  <a:lnTo>
                    <a:pt x="344" y="266"/>
                  </a:lnTo>
                  <a:lnTo>
                    <a:pt x="352" y="252"/>
                  </a:lnTo>
                  <a:lnTo>
                    <a:pt x="360" y="236"/>
                  </a:lnTo>
                  <a:lnTo>
                    <a:pt x="364" y="220"/>
                  </a:lnTo>
                  <a:lnTo>
                    <a:pt x="364" y="220"/>
                  </a:lnTo>
                  <a:lnTo>
                    <a:pt x="368" y="198"/>
                  </a:lnTo>
                  <a:lnTo>
                    <a:pt x="370" y="176"/>
                  </a:lnTo>
                  <a:lnTo>
                    <a:pt x="370" y="176"/>
                  </a:lnTo>
                  <a:lnTo>
                    <a:pt x="370" y="172"/>
                  </a:lnTo>
                  <a:lnTo>
                    <a:pt x="368" y="168"/>
                  </a:lnTo>
                  <a:lnTo>
                    <a:pt x="364" y="166"/>
                  </a:lnTo>
                  <a:lnTo>
                    <a:pt x="360" y="166"/>
                  </a:lnTo>
                  <a:lnTo>
                    <a:pt x="360" y="1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" name="Group 101">
            <a:extLst>
              <a:ext uri="{FF2B5EF4-FFF2-40B4-BE49-F238E27FC236}">
                <a16:creationId xmlns:a16="http://schemas.microsoft.com/office/drawing/2014/main" id="{647BE1FB-7A71-4BFC-AFD9-07E7D58F9F29}"/>
              </a:ext>
            </a:extLst>
          </p:cNvPr>
          <p:cNvGrpSpPr/>
          <p:nvPr/>
        </p:nvGrpSpPr>
        <p:grpSpPr>
          <a:xfrm>
            <a:off x="781745" y="2315302"/>
            <a:ext cx="377876" cy="377876"/>
            <a:chOff x="5841085" y="5907019"/>
            <a:chExt cx="612000" cy="612000"/>
          </a:xfrm>
        </p:grpSpPr>
        <p:sp>
          <p:nvSpPr>
            <p:cNvPr id="28" name="Oval 273">
              <a:extLst>
                <a:ext uri="{FF2B5EF4-FFF2-40B4-BE49-F238E27FC236}">
                  <a16:creationId xmlns:a16="http://schemas.microsoft.com/office/drawing/2014/main" id="{AF706A4B-558F-4EF6-940F-4D374BC6D815}"/>
                </a:ext>
              </a:extLst>
            </p:cNvPr>
            <p:cNvSpPr/>
            <p:nvPr/>
          </p:nvSpPr>
          <p:spPr bwMode="ltGray">
            <a:xfrm>
              <a:off x="5841085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9" name="Freeform 4931">
              <a:extLst>
                <a:ext uri="{FF2B5EF4-FFF2-40B4-BE49-F238E27FC236}">
                  <a16:creationId xmlns:a16="http://schemas.microsoft.com/office/drawing/2014/main" id="{D3DBD649-7AA4-4318-9470-4BFF7C3457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6550" y="6036438"/>
              <a:ext cx="281071" cy="394953"/>
            </a:xfrm>
            <a:custGeom>
              <a:avLst/>
              <a:gdLst>
                <a:gd name="T0" fmla="*/ 124 w 232"/>
                <a:gd name="T1" fmla="*/ 4 h 326"/>
                <a:gd name="T2" fmla="*/ 120 w 232"/>
                <a:gd name="T3" fmla="*/ 2 h 326"/>
                <a:gd name="T4" fmla="*/ 112 w 232"/>
                <a:gd name="T5" fmla="*/ 2 h 326"/>
                <a:gd name="T6" fmla="*/ 14 w 232"/>
                <a:gd name="T7" fmla="*/ 154 h 326"/>
                <a:gd name="T8" fmla="*/ 8 w 232"/>
                <a:gd name="T9" fmla="*/ 168 h 326"/>
                <a:gd name="T10" fmla="*/ 0 w 232"/>
                <a:gd name="T11" fmla="*/ 196 h 326"/>
                <a:gd name="T12" fmla="*/ 0 w 232"/>
                <a:gd name="T13" fmla="*/ 210 h 326"/>
                <a:gd name="T14" fmla="*/ 0 w 232"/>
                <a:gd name="T15" fmla="*/ 218 h 326"/>
                <a:gd name="T16" fmla="*/ 0 w 232"/>
                <a:gd name="T17" fmla="*/ 220 h 326"/>
                <a:gd name="T18" fmla="*/ 12 w 232"/>
                <a:gd name="T19" fmla="*/ 262 h 326"/>
                <a:gd name="T20" fmla="*/ 38 w 232"/>
                <a:gd name="T21" fmla="*/ 296 h 326"/>
                <a:gd name="T22" fmla="*/ 74 w 232"/>
                <a:gd name="T23" fmla="*/ 318 h 326"/>
                <a:gd name="T24" fmla="*/ 116 w 232"/>
                <a:gd name="T25" fmla="*/ 326 h 326"/>
                <a:gd name="T26" fmla="*/ 138 w 232"/>
                <a:gd name="T27" fmla="*/ 324 h 326"/>
                <a:gd name="T28" fmla="*/ 178 w 232"/>
                <a:gd name="T29" fmla="*/ 308 h 326"/>
                <a:gd name="T30" fmla="*/ 208 w 232"/>
                <a:gd name="T31" fmla="*/ 280 h 326"/>
                <a:gd name="T32" fmla="*/ 228 w 232"/>
                <a:gd name="T33" fmla="*/ 242 h 326"/>
                <a:gd name="T34" fmla="*/ 232 w 232"/>
                <a:gd name="T35" fmla="*/ 220 h 326"/>
                <a:gd name="T36" fmla="*/ 232 w 232"/>
                <a:gd name="T37" fmla="*/ 218 h 326"/>
                <a:gd name="T38" fmla="*/ 232 w 232"/>
                <a:gd name="T39" fmla="*/ 210 h 326"/>
                <a:gd name="T40" fmla="*/ 228 w 232"/>
                <a:gd name="T41" fmla="*/ 182 h 326"/>
                <a:gd name="T42" fmla="*/ 218 w 232"/>
                <a:gd name="T43" fmla="*/ 154 h 326"/>
                <a:gd name="T44" fmla="*/ 116 w 232"/>
                <a:gd name="T45" fmla="*/ 294 h 326"/>
                <a:gd name="T46" fmla="*/ 96 w 232"/>
                <a:gd name="T47" fmla="*/ 292 h 326"/>
                <a:gd name="T48" fmla="*/ 64 w 232"/>
                <a:gd name="T49" fmla="*/ 278 h 326"/>
                <a:gd name="T50" fmla="*/ 44 w 232"/>
                <a:gd name="T51" fmla="*/ 256 h 326"/>
                <a:gd name="T52" fmla="*/ 34 w 232"/>
                <a:gd name="T53" fmla="*/ 228 h 326"/>
                <a:gd name="T54" fmla="*/ 34 w 232"/>
                <a:gd name="T55" fmla="*/ 214 h 326"/>
                <a:gd name="T56" fmla="*/ 36 w 232"/>
                <a:gd name="T57" fmla="*/ 208 h 326"/>
                <a:gd name="T58" fmla="*/ 44 w 232"/>
                <a:gd name="T59" fmla="*/ 204 h 326"/>
                <a:gd name="T60" fmla="*/ 48 w 232"/>
                <a:gd name="T61" fmla="*/ 204 h 326"/>
                <a:gd name="T62" fmla="*/ 52 w 232"/>
                <a:gd name="T63" fmla="*/ 210 h 326"/>
                <a:gd name="T64" fmla="*/ 54 w 232"/>
                <a:gd name="T65" fmla="*/ 214 h 326"/>
                <a:gd name="T66" fmla="*/ 56 w 232"/>
                <a:gd name="T67" fmla="*/ 236 h 326"/>
                <a:gd name="T68" fmla="*/ 68 w 232"/>
                <a:gd name="T69" fmla="*/ 254 h 326"/>
                <a:gd name="T70" fmla="*/ 86 w 232"/>
                <a:gd name="T71" fmla="*/ 268 h 326"/>
                <a:gd name="T72" fmla="*/ 116 w 232"/>
                <a:gd name="T73" fmla="*/ 274 h 326"/>
                <a:gd name="T74" fmla="*/ 118 w 232"/>
                <a:gd name="T75" fmla="*/ 274 h 326"/>
                <a:gd name="T76" fmla="*/ 124 w 232"/>
                <a:gd name="T77" fmla="*/ 280 h 326"/>
                <a:gd name="T78" fmla="*/ 126 w 232"/>
                <a:gd name="T79" fmla="*/ 284 h 326"/>
                <a:gd name="T80" fmla="*/ 122 w 232"/>
                <a:gd name="T81" fmla="*/ 290 h 326"/>
                <a:gd name="T82" fmla="*/ 116 w 232"/>
                <a:gd name="T83" fmla="*/ 294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2" h="326">
                  <a:moveTo>
                    <a:pt x="218" y="154"/>
                  </a:moveTo>
                  <a:lnTo>
                    <a:pt x="124" y="4"/>
                  </a:lnTo>
                  <a:lnTo>
                    <a:pt x="124" y="4"/>
                  </a:lnTo>
                  <a:lnTo>
                    <a:pt x="120" y="2"/>
                  </a:lnTo>
                  <a:lnTo>
                    <a:pt x="116" y="0"/>
                  </a:lnTo>
                  <a:lnTo>
                    <a:pt x="112" y="2"/>
                  </a:lnTo>
                  <a:lnTo>
                    <a:pt x="108" y="4"/>
                  </a:lnTo>
                  <a:lnTo>
                    <a:pt x="14" y="154"/>
                  </a:lnTo>
                  <a:lnTo>
                    <a:pt x="14" y="154"/>
                  </a:lnTo>
                  <a:lnTo>
                    <a:pt x="8" y="168"/>
                  </a:lnTo>
                  <a:lnTo>
                    <a:pt x="4" y="182"/>
                  </a:lnTo>
                  <a:lnTo>
                    <a:pt x="0" y="196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0" y="218"/>
                  </a:lnTo>
                  <a:lnTo>
                    <a:pt x="0" y="218"/>
                  </a:lnTo>
                  <a:lnTo>
                    <a:pt x="0" y="220"/>
                  </a:lnTo>
                  <a:lnTo>
                    <a:pt x="0" y="220"/>
                  </a:lnTo>
                  <a:lnTo>
                    <a:pt x="4" y="242"/>
                  </a:lnTo>
                  <a:lnTo>
                    <a:pt x="12" y="262"/>
                  </a:lnTo>
                  <a:lnTo>
                    <a:pt x="24" y="280"/>
                  </a:lnTo>
                  <a:lnTo>
                    <a:pt x="38" y="296"/>
                  </a:lnTo>
                  <a:lnTo>
                    <a:pt x="54" y="308"/>
                  </a:lnTo>
                  <a:lnTo>
                    <a:pt x="74" y="318"/>
                  </a:lnTo>
                  <a:lnTo>
                    <a:pt x="94" y="324"/>
                  </a:lnTo>
                  <a:lnTo>
                    <a:pt x="116" y="326"/>
                  </a:lnTo>
                  <a:lnTo>
                    <a:pt x="116" y="326"/>
                  </a:lnTo>
                  <a:lnTo>
                    <a:pt x="138" y="324"/>
                  </a:lnTo>
                  <a:lnTo>
                    <a:pt x="158" y="318"/>
                  </a:lnTo>
                  <a:lnTo>
                    <a:pt x="178" y="308"/>
                  </a:lnTo>
                  <a:lnTo>
                    <a:pt x="194" y="296"/>
                  </a:lnTo>
                  <a:lnTo>
                    <a:pt x="208" y="280"/>
                  </a:lnTo>
                  <a:lnTo>
                    <a:pt x="220" y="262"/>
                  </a:lnTo>
                  <a:lnTo>
                    <a:pt x="228" y="242"/>
                  </a:lnTo>
                  <a:lnTo>
                    <a:pt x="232" y="220"/>
                  </a:lnTo>
                  <a:lnTo>
                    <a:pt x="232" y="220"/>
                  </a:lnTo>
                  <a:lnTo>
                    <a:pt x="232" y="218"/>
                  </a:lnTo>
                  <a:lnTo>
                    <a:pt x="232" y="218"/>
                  </a:lnTo>
                  <a:lnTo>
                    <a:pt x="232" y="210"/>
                  </a:lnTo>
                  <a:lnTo>
                    <a:pt x="232" y="210"/>
                  </a:lnTo>
                  <a:lnTo>
                    <a:pt x="232" y="196"/>
                  </a:lnTo>
                  <a:lnTo>
                    <a:pt x="228" y="182"/>
                  </a:lnTo>
                  <a:lnTo>
                    <a:pt x="224" y="166"/>
                  </a:lnTo>
                  <a:lnTo>
                    <a:pt x="218" y="154"/>
                  </a:lnTo>
                  <a:lnTo>
                    <a:pt x="218" y="154"/>
                  </a:lnTo>
                  <a:close/>
                  <a:moveTo>
                    <a:pt x="116" y="294"/>
                  </a:moveTo>
                  <a:lnTo>
                    <a:pt x="116" y="294"/>
                  </a:lnTo>
                  <a:lnTo>
                    <a:pt x="96" y="292"/>
                  </a:lnTo>
                  <a:lnTo>
                    <a:pt x="78" y="286"/>
                  </a:lnTo>
                  <a:lnTo>
                    <a:pt x="64" y="278"/>
                  </a:lnTo>
                  <a:lnTo>
                    <a:pt x="54" y="268"/>
                  </a:lnTo>
                  <a:lnTo>
                    <a:pt x="44" y="256"/>
                  </a:lnTo>
                  <a:lnTo>
                    <a:pt x="38" y="242"/>
                  </a:lnTo>
                  <a:lnTo>
                    <a:pt x="34" y="228"/>
                  </a:lnTo>
                  <a:lnTo>
                    <a:pt x="34" y="214"/>
                  </a:lnTo>
                  <a:lnTo>
                    <a:pt x="34" y="214"/>
                  </a:lnTo>
                  <a:lnTo>
                    <a:pt x="34" y="210"/>
                  </a:lnTo>
                  <a:lnTo>
                    <a:pt x="36" y="208"/>
                  </a:lnTo>
                  <a:lnTo>
                    <a:pt x="40" y="204"/>
                  </a:lnTo>
                  <a:lnTo>
                    <a:pt x="44" y="204"/>
                  </a:lnTo>
                  <a:lnTo>
                    <a:pt x="44" y="204"/>
                  </a:lnTo>
                  <a:lnTo>
                    <a:pt x="48" y="204"/>
                  </a:lnTo>
                  <a:lnTo>
                    <a:pt x="50" y="208"/>
                  </a:lnTo>
                  <a:lnTo>
                    <a:pt x="52" y="210"/>
                  </a:lnTo>
                  <a:lnTo>
                    <a:pt x="54" y="214"/>
                  </a:lnTo>
                  <a:lnTo>
                    <a:pt x="54" y="214"/>
                  </a:lnTo>
                  <a:lnTo>
                    <a:pt x="54" y="224"/>
                  </a:lnTo>
                  <a:lnTo>
                    <a:pt x="56" y="236"/>
                  </a:lnTo>
                  <a:lnTo>
                    <a:pt x="60" y="246"/>
                  </a:lnTo>
                  <a:lnTo>
                    <a:pt x="68" y="254"/>
                  </a:lnTo>
                  <a:lnTo>
                    <a:pt x="76" y="262"/>
                  </a:lnTo>
                  <a:lnTo>
                    <a:pt x="86" y="268"/>
                  </a:lnTo>
                  <a:lnTo>
                    <a:pt x="100" y="272"/>
                  </a:lnTo>
                  <a:lnTo>
                    <a:pt x="116" y="274"/>
                  </a:lnTo>
                  <a:lnTo>
                    <a:pt x="116" y="274"/>
                  </a:lnTo>
                  <a:lnTo>
                    <a:pt x="118" y="274"/>
                  </a:lnTo>
                  <a:lnTo>
                    <a:pt x="122" y="276"/>
                  </a:lnTo>
                  <a:lnTo>
                    <a:pt x="124" y="280"/>
                  </a:lnTo>
                  <a:lnTo>
                    <a:pt x="126" y="284"/>
                  </a:lnTo>
                  <a:lnTo>
                    <a:pt x="126" y="284"/>
                  </a:lnTo>
                  <a:lnTo>
                    <a:pt x="124" y="288"/>
                  </a:lnTo>
                  <a:lnTo>
                    <a:pt x="122" y="290"/>
                  </a:lnTo>
                  <a:lnTo>
                    <a:pt x="118" y="294"/>
                  </a:lnTo>
                  <a:lnTo>
                    <a:pt x="116" y="294"/>
                  </a:lnTo>
                  <a:lnTo>
                    <a:pt x="116" y="29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0" name="Group 107">
            <a:extLst>
              <a:ext uri="{FF2B5EF4-FFF2-40B4-BE49-F238E27FC236}">
                <a16:creationId xmlns:a16="http://schemas.microsoft.com/office/drawing/2014/main" id="{FC1DB88C-0F0A-457B-9F66-B05C07BF5DF1}"/>
              </a:ext>
            </a:extLst>
          </p:cNvPr>
          <p:cNvGrpSpPr/>
          <p:nvPr/>
        </p:nvGrpSpPr>
        <p:grpSpPr>
          <a:xfrm>
            <a:off x="4688270" y="5350713"/>
            <a:ext cx="377876" cy="377876"/>
            <a:chOff x="9322641" y="5907019"/>
            <a:chExt cx="612000" cy="612000"/>
          </a:xfrm>
        </p:grpSpPr>
        <p:sp>
          <p:nvSpPr>
            <p:cNvPr id="31" name="Oval 334">
              <a:extLst>
                <a:ext uri="{FF2B5EF4-FFF2-40B4-BE49-F238E27FC236}">
                  <a16:creationId xmlns:a16="http://schemas.microsoft.com/office/drawing/2014/main" id="{F2A88F52-3534-4139-B995-2C12C343EECF}"/>
                </a:ext>
              </a:extLst>
            </p:cNvPr>
            <p:cNvSpPr/>
            <p:nvPr/>
          </p:nvSpPr>
          <p:spPr bwMode="ltGray">
            <a:xfrm>
              <a:off x="9322641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2" name="Freeform 5014">
              <a:extLst>
                <a:ext uri="{FF2B5EF4-FFF2-40B4-BE49-F238E27FC236}">
                  <a16:creationId xmlns:a16="http://schemas.microsoft.com/office/drawing/2014/main" id="{18D9766A-E115-4F33-8436-F73F221C21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1821" y="6045356"/>
              <a:ext cx="433640" cy="334866"/>
            </a:xfrm>
            <a:custGeom>
              <a:avLst/>
              <a:gdLst>
                <a:gd name="T0" fmla="*/ 360 w 360"/>
                <a:gd name="T1" fmla="*/ 256 h 278"/>
                <a:gd name="T2" fmla="*/ 360 w 360"/>
                <a:gd name="T3" fmla="*/ 252 h 278"/>
                <a:gd name="T4" fmla="*/ 358 w 360"/>
                <a:gd name="T5" fmla="*/ 252 h 278"/>
                <a:gd name="T6" fmla="*/ 318 w 360"/>
                <a:gd name="T7" fmla="*/ 200 h 278"/>
                <a:gd name="T8" fmla="*/ 314 w 360"/>
                <a:gd name="T9" fmla="*/ 198 h 278"/>
                <a:gd name="T10" fmla="*/ 50 w 360"/>
                <a:gd name="T11" fmla="*/ 196 h 278"/>
                <a:gd name="T12" fmla="*/ 46 w 360"/>
                <a:gd name="T13" fmla="*/ 198 h 278"/>
                <a:gd name="T14" fmla="*/ 2 w 360"/>
                <a:gd name="T15" fmla="*/ 250 h 278"/>
                <a:gd name="T16" fmla="*/ 2 w 360"/>
                <a:gd name="T17" fmla="*/ 252 h 278"/>
                <a:gd name="T18" fmla="*/ 0 w 360"/>
                <a:gd name="T19" fmla="*/ 252 h 278"/>
                <a:gd name="T20" fmla="*/ 0 w 360"/>
                <a:gd name="T21" fmla="*/ 256 h 278"/>
                <a:gd name="T22" fmla="*/ 0 w 360"/>
                <a:gd name="T23" fmla="*/ 256 h 278"/>
                <a:gd name="T24" fmla="*/ 0 w 360"/>
                <a:gd name="T25" fmla="*/ 268 h 278"/>
                <a:gd name="T26" fmla="*/ 4 w 360"/>
                <a:gd name="T27" fmla="*/ 276 h 278"/>
                <a:gd name="T28" fmla="*/ 10 w 360"/>
                <a:gd name="T29" fmla="*/ 278 h 278"/>
                <a:gd name="T30" fmla="*/ 350 w 360"/>
                <a:gd name="T31" fmla="*/ 278 h 278"/>
                <a:gd name="T32" fmla="*/ 356 w 360"/>
                <a:gd name="T33" fmla="*/ 276 h 278"/>
                <a:gd name="T34" fmla="*/ 360 w 360"/>
                <a:gd name="T35" fmla="*/ 268 h 278"/>
                <a:gd name="T36" fmla="*/ 360 w 360"/>
                <a:gd name="T37" fmla="*/ 256 h 278"/>
                <a:gd name="T38" fmla="*/ 360 w 360"/>
                <a:gd name="T39" fmla="*/ 256 h 278"/>
                <a:gd name="T40" fmla="*/ 146 w 360"/>
                <a:gd name="T41" fmla="*/ 234 h 278"/>
                <a:gd name="T42" fmla="*/ 226 w 360"/>
                <a:gd name="T43" fmla="*/ 254 h 278"/>
                <a:gd name="T44" fmla="*/ 338 w 360"/>
                <a:gd name="T45" fmla="*/ 268 h 278"/>
                <a:gd name="T46" fmla="*/ 334 w 360"/>
                <a:gd name="T47" fmla="*/ 270 h 278"/>
                <a:gd name="T48" fmla="*/ 332 w 360"/>
                <a:gd name="T49" fmla="*/ 270 h 278"/>
                <a:gd name="T50" fmla="*/ 326 w 360"/>
                <a:gd name="T51" fmla="*/ 268 h 278"/>
                <a:gd name="T52" fmla="*/ 324 w 360"/>
                <a:gd name="T53" fmla="*/ 262 h 278"/>
                <a:gd name="T54" fmla="*/ 326 w 360"/>
                <a:gd name="T55" fmla="*/ 256 h 278"/>
                <a:gd name="T56" fmla="*/ 328 w 360"/>
                <a:gd name="T57" fmla="*/ 256 h 278"/>
                <a:gd name="T58" fmla="*/ 334 w 360"/>
                <a:gd name="T59" fmla="*/ 256 h 278"/>
                <a:gd name="T60" fmla="*/ 338 w 360"/>
                <a:gd name="T61" fmla="*/ 256 h 278"/>
                <a:gd name="T62" fmla="*/ 340 w 360"/>
                <a:gd name="T63" fmla="*/ 262 h 278"/>
                <a:gd name="T64" fmla="*/ 340 w 360"/>
                <a:gd name="T65" fmla="*/ 266 h 278"/>
                <a:gd name="T66" fmla="*/ 338 w 360"/>
                <a:gd name="T67" fmla="*/ 268 h 278"/>
                <a:gd name="T68" fmla="*/ 306 w 360"/>
                <a:gd name="T69" fmla="*/ 184 h 278"/>
                <a:gd name="T70" fmla="*/ 310 w 360"/>
                <a:gd name="T71" fmla="*/ 184 h 278"/>
                <a:gd name="T72" fmla="*/ 318 w 360"/>
                <a:gd name="T73" fmla="*/ 178 h 278"/>
                <a:gd name="T74" fmla="*/ 318 w 360"/>
                <a:gd name="T75" fmla="*/ 12 h 278"/>
                <a:gd name="T76" fmla="*/ 318 w 360"/>
                <a:gd name="T77" fmla="*/ 6 h 278"/>
                <a:gd name="T78" fmla="*/ 310 w 360"/>
                <a:gd name="T79" fmla="*/ 0 h 278"/>
                <a:gd name="T80" fmla="*/ 54 w 360"/>
                <a:gd name="T81" fmla="*/ 0 h 278"/>
                <a:gd name="T82" fmla="*/ 50 w 360"/>
                <a:gd name="T83" fmla="*/ 0 h 278"/>
                <a:gd name="T84" fmla="*/ 42 w 360"/>
                <a:gd name="T85" fmla="*/ 6 h 278"/>
                <a:gd name="T86" fmla="*/ 42 w 360"/>
                <a:gd name="T87" fmla="*/ 172 h 278"/>
                <a:gd name="T88" fmla="*/ 42 w 360"/>
                <a:gd name="T89" fmla="*/ 178 h 278"/>
                <a:gd name="T90" fmla="*/ 50 w 360"/>
                <a:gd name="T91" fmla="*/ 184 h 278"/>
                <a:gd name="T92" fmla="*/ 54 w 360"/>
                <a:gd name="T93" fmla="*/ 184 h 278"/>
                <a:gd name="T94" fmla="*/ 294 w 360"/>
                <a:gd name="T95" fmla="*/ 24 h 278"/>
                <a:gd name="T96" fmla="*/ 66 w 360"/>
                <a:gd name="T97" fmla="*/ 16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0" h="278">
                  <a:moveTo>
                    <a:pt x="360" y="256"/>
                  </a:moveTo>
                  <a:lnTo>
                    <a:pt x="360" y="256"/>
                  </a:lnTo>
                  <a:lnTo>
                    <a:pt x="360" y="252"/>
                  </a:lnTo>
                  <a:lnTo>
                    <a:pt x="360" y="252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8" y="250"/>
                  </a:lnTo>
                  <a:lnTo>
                    <a:pt x="318" y="200"/>
                  </a:lnTo>
                  <a:lnTo>
                    <a:pt x="318" y="200"/>
                  </a:lnTo>
                  <a:lnTo>
                    <a:pt x="314" y="198"/>
                  </a:lnTo>
                  <a:lnTo>
                    <a:pt x="310" y="196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46" y="198"/>
                  </a:lnTo>
                  <a:lnTo>
                    <a:pt x="42" y="20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2"/>
                  </a:lnTo>
                  <a:lnTo>
                    <a:pt x="4" y="276"/>
                  </a:lnTo>
                  <a:lnTo>
                    <a:pt x="6" y="278"/>
                  </a:lnTo>
                  <a:lnTo>
                    <a:pt x="10" y="278"/>
                  </a:lnTo>
                  <a:lnTo>
                    <a:pt x="350" y="278"/>
                  </a:lnTo>
                  <a:lnTo>
                    <a:pt x="350" y="278"/>
                  </a:lnTo>
                  <a:lnTo>
                    <a:pt x="354" y="278"/>
                  </a:lnTo>
                  <a:lnTo>
                    <a:pt x="356" y="276"/>
                  </a:lnTo>
                  <a:lnTo>
                    <a:pt x="360" y="272"/>
                  </a:lnTo>
                  <a:lnTo>
                    <a:pt x="360" y="268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close/>
                  <a:moveTo>
                    <a:pt x="134" y="254"/>
                  </a:moveTo>
                  <a:lnTo>
                    <a:pt x="146" y="234"/>
                  </a:lnTo>
                  <a:lnTo>
                    <a:pt x="214" y="234"/>
                  </a:lnTo>
                  <a:lnTo>
                    <a:pt x="226" y="254"/>
                  </a:lnTo>
                  <a:lnTo>
                    <a:pt x="134" y="254"/>
                  </a:lnTo>
                  <a:close/>
                  <a:moveTo>
                    <a:pt x="338" y="268"/>
                  </a:moveTo>
                  <a:lnTo>
                    <a:pt x="338" y="268"/>
                  </a:lnTo>
                  <a:lnTo>
                    <a:pt x="334" y="270"/>
                  </a:lnTo>
                  <a:lnTo>
                    <a:pt x="332" y="270"/>
                  </a:lnTo>
                  <a:lnTo>
                    <a:pt x="332" y="270"/>
                  </a:lnTo>
                  <a:lnTo>
                    <a:pt x="326" y="268"/>
                  </a:lnTo>
                  <a:lnTo>
                    <a:pt x="326" y="268"/>
                  </a:lnTo>
                  <a:lnTo>
                    <a:pt x="324" y="262"/>
                  </a:lnTo>
                  <a:lnTo>
                    <a:pt x="324" y="262"/>
                  </a:lnTo>
                  <a:lnTo>
                    <a:pt x="324" y="260"/>
                  </a:lnTo>
                  <a:lnTo>
                    <a:pt x="326" y="256"/>
                  </a:lnTo>
                  <a:lnTo>
                    <a:pt x="326" y="256"/>
                  </a:lnTo>
                  <a:lnTo>
                    <a:pt x="328" y="256"/>
                  </a:lnTo>
                  <a:lnTo>
                    <a:pt x="332" y="254"/>
                  </a:lnTo>
                  <a:lnTo>
                    <a:pt x="334" y="256"/>
                  </a:lnTo>
                  <a:lnTo>
                    <a:pt x="338" y="256"/>
                  </a:lnTo>
                  <a:lnTo>
                    <a:pt x="338" y="256"/>
                  </a:lnTo>
                  <a:lnTo>
                    <a:pt x="340" y="260"/>
                  </a:lnTo>
                  <a:lnTo>
                    <a:pt x="340" y="262"/>
                  </a:lnTo>
                  <a:lnTo>
                    <a:pt x="340" y="262"/>
                  </a:lnTo>
                  <a:lnTo>
                    <a:pt x="340" y="266"/>
                  </a:lnTo>
                  <a:lnTo>
                    <a:pt x="338" y="268"/>
                  </a:lnTo>
                  <a:lnTo>
                    <a:pt x="338" y="268"/>
                  </a:lnTo>
                  <a:close/>
                  <a:moveTo>
                    <a:pt x="54" y="184"/>
                  </a:moveTo>
                  <a:lnTo>
                    <a:pt x="306" y="184"/>
                  </a:lnTo>
                  <a:lnTo>
                    <a:pt x="306" y="184"/>
                  </a:lnTo>
                  <a:lnTo>
                    <a:pt x="310" y="184"/>
                  </a:lnTo>
                  <a:lnTo>
                    <a:pt x="314" y="182"/>
                  </a:lnTo>
                  <a:lnTo>
                    <a:pt x="318" y="178"/>
                  </a:lnTo>
                  <a:lnTo>
                    <a:pt x="318" y="172"/>
                  </a:lnTo>
                  <a:lnTo>
                    <a:pt x="318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4" y="2"/>
                  </a:lnTo>
                  <a:lnTo>
                    <a:pt x="310" y="0"/>
                  </a:lnTo>
                  <a:lnTo>
                    <a:pt x="30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2"/>
                  </a:lnTo>
                  <a:lnTo>
                    <a:pt x="42" y="6"/>
                  </a:lnTo>
                  <a:lnTo>
                    <a:pt x="42" y="12"/>
                  </a:lnTo>
                  <a:lnTo>
                    <a:pt x="42" y="172"/>
                  </a:lnTo>
                  <a:lnTo>
                    <a:pt x="42" y="172"/>
                  </a:lnTo>
                  <a:lnTo>
                    <a:pt x="42" y="178"/>
                  </a:lnTo>
                  <a:lnTo>
                    <a:pt x="46" y="182"/>
                  </a:lnTo>
                  <a:lnTo>
                    <a:pt x="50" y="184"/>
                  </a:lnTo>
                  <a:lnTo>
                    <a:pt x="54" y="184"/>
                  </a:lnTo>
                  <a:lnTo>
                    <a:pt x="54" y="184"/>
                  </a:lnTo>
                  <a:close/>
                  <a:moveTo>
                    <a:pt x="66" y="24"/>
                  </a:moveTo>
                  <a:lnTo>
                    <a:pt x="294" y="24"/>
                  </a:lnTo>
                  <a:lnTo>
                    <a:pt x="294" y="160"/>
                  </a:lnTo>
                  <a:lnTo>
                    <a:pt x="66" y="160"/>
                  </a:lnTo>
                  <a:lnTo>
                    <a:pt x="66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3" name="Group 109">
            <a:extLst>
              <a:ext uri="{FF2B5EF4-FFF2-40B4-BE49-F238E27FC236}">
                <a16:creationId xmlns:a16="http://schemas.microsoft.com/office/drawing/2014/main" id="{6DBBCE92-1B36-4BA6-9616-C6DA3F0BB25A}"/>
              </a:ext>
            </a:extLst>
          </p:cNvPr>
          <p:cNvGrpSpPr/>
          <p:nvPr/>
        </p:nvGrpSpPr>
        <p:grpSpPr>
          <a:xfrm>
            <a:off x="4597632" y="2315302"/>
            <a:ext cx="377876" cy="377876"/>
            <a:chOff x="7573215" y="5907019"/>
            <a:chExt cx="612000" cy="612000"/>
          </a:xfrm>
        </p:grpSpPr>
        <p:sp>
          <p:nvSpPr>
            <p:cNvPr id="34" name="Oval 284">
              <a:extLst>
                <a:ext uri="{FF2B5EF4-FFF2-40B4-BE49-F238E27FC236}">
                  <a16:creationId xmlns:a16="http://schemas.microsoft.com/office/drawing/2014/main" id="{D3317996-DB7E-4551-BAE6-0D309BEDD3C5}"/>
                </a:ext>
              </a:extLst>
            </p:cNvPr>
            <p:cNvSpPr/>
            <p:nvPr/>
          </p:nvSpPr>
          <p:spPr bwMode="ltGray">
            <a:xfrm>
              <a:off x="7573215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5" name="Freeform 4952">
              <a:extLst>
                <a:ext uri="{FF2B5EF4-FFF2-40B4-BE49-F238E27FC236}">
                  <a16:creationId xmlns:a16="http://schemas.microsoft.com/office/drawing/2014/main" id="{34326E2E-7818-4D53-8697-1B87C2F97C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8720" y="6043707"/>
              <a:ext cx="440990" cy="331954"/>
            </a:xfrm>
            <a:custGeom>
              <a:avLst/>
              <a:gdLst>
                <a:gd name="T0" fmla="*/ 332 w 364"/>
                <a:gd name="T1" fmla="*/ 64 h 274"/>
                <a:gd name="T2" fmla="*/ 286 w 364"/>
                <a:gd name="T3" fmla="*/ 8 h 274"/>
                <a:gd name="T4" fmla="*/ 264 w 364"/>
                <a:gd name="T5" fmla="*/ 2 h 274"/>
                <a:gd name="T6" fmla="*/ 182 w 364"/>
                <a:gd name="T7" fmla="*/ 0 h 274"/>
                <a:gd name="T8" fmla="*/ 86 w 364"/>
                <a:gd name="T9" fmla="*/ 4 h 274"/>
                <a:gd name="T10" fmla="*/ 66 w 364"/>
                <a:gd name="T11" fmla="*/ 18 h 274"/>
                <a:gd name="T12" fmla="*/ 32 w 364"/>
                <a:gd name="T13" fmla="*/ 64 h 274"/>
                <a:gd name="T14" fmla="*/ 8 w 364"/>
                <a:gd name="T15" fmla="*/ 110 h 274"/>
                <a:gd name="T16" fmla="*/ 0 w 364"/>
                <a:gd name="T17" fmla="*/ 172 h 274"/>
                <a:gd name="T18" fmla="*/ 6 w 364"/>
                <a:gd name="T19" fmla="*/ 228 h 274"/>
                <a:gd name="T20" fmla="*/ 10 w 364"/>
                <a:gd name="T21" fmla="*/ 262 h 274"/>
                <a:gd name="T22" fmla="*/ 18 w 364"/>
                <a:gd name="T23" fmla="*/ 274 h 274"/>
                <a:gd name="T24" fmla="*/ 54 w 364"/>
                <a:gd name="T25" fmla="*/ 274 h 274"/>
                <a:gd name="T26" fmla="*/ 60 w 364"/>
                <a:gd name="T27" fmla="*/ 238 h 274"/>
                <a:gd name="T28" fmla="*/ 304 w 364"/>
                <a:gd name="T29" fmla="*/ 262 h 274"/>
                <a:gd name="T30" fmla="*/ 316 w 364"/>
                <a:gd name="T31" fmla="*/ 274 h 274"/>
                <a:gd name="T32" fmla="*/ 350 w 364"/>
                <a:gd name="T33" fmla="*/ 270 h 274"/>
                <a:gd name="T34" fmla="*/ 354 w 364"/>
                <a:gd name="T35" fmla="*/ 236 h 274"/>
                <a:gd name="T36" fmla="*/ 362 w 364"/>
                <a:gd name="T37" fmla="*/ 212 h 274"/>
                <a:gd name="T38" fmla="*/ 364 w 364"/>
                <a:gd name="T39" fmla="*/ 152 h 274"/>
                <a:gd name="T40" fmla="*/ 348 w 364"/>
                <a:gd name="T41" fmla="*/ 90 h 274"/>
                <a:gd name="T42" fmla="*/ 86 w 364"/>
                <a:gd name="T43" fmla="*/ 18 h 274"/>
                <a:gd name="T44" fmla="*/ 182 w 364"/>
                <a:gd name="T45" fmla="*/ 14 h 274"/>
                <a:gd name="T46" fmla="*/ 278 w 364"/>
                <a:gd name="T47" fmla="*/ 18 h 274"/>
                <a:gd name="T48" fmla="*/ 304 w 364"/>
                <a:gd name="T49" fmla="*/ 56 h 274"/>
                <a:gd name="T50" fmla="*/ 290 w 364"/>
                <a:gd name="T51" fmla="*/ 62 h 274"/>
                <a:gd name="T52" fmla="*/ 74 w 364"/>
                <a:gd name="T53" fmla="*/ 62 h 274"/>
                <a:gd name="T54" fmla="*/ 60 w 364"/>
                <a:gd name="T55" fmla="*/ 56 h 274"/>
                <a:gd name="T56" fmla="*/ 86 w 364"/>
                <a:gd name="T57" fmla="*/ 18 h 274"/>
                <a:gd name="T58" fmla="*/ 194 w 364"/>
                <a:gd name="T59" fmla="*/ 120 h 274"/>
                <a:gd name="T60" fmla="*/ 174 w 364"/>
                <a:gd name="T61" fmla="*/ 122 h 274"/>
                <a:gd name="T62" fmla="*/ 170 w 364"/>
                <a:gd name="T63" fmla="*/ 116 h 274"/>
                <a:gd name="T64" fmla="*/ 190 w 364"/>
                <a:gd name="T65" fmla="*/ 114 h 274"/>
                <a:gd name="T66" fmla="*/ 50 w 364"/>
                <a:gd name="T67" fmla="*/ 126 h 274"/>
                <a:gd name="T68" fmla="*/ 22 w 364"/>
                <a:gd name="T69" fmla="*/ 112 h 274"/>
                <a:gd name="T70" fmla="*/ 32 w 364"/>
                <a:gd name="T71" fmla="*/ 94 h 274"/>
                <a:gd name="T72" fmla="*/ 64 w 364"/>
                <a:gd name="T73" fmla="*/ 94 h 274"/>
                <a:gd name="T74" fmla="*/ 82 w 364"/>
                <a:gd name="T75" fmla="*/ 112 h 274"/>
                <a:gd name="T76" fmla="*/ 50 w 364"/>
                <a:gd name="T77" fmla="*/ 126 h 274"/>
                <a:gd name="T78" fmla="*/ 242 w 364"/>
                <a:gd name="T79" fmla="*/ 220 h 274"/>
                <a:gd name="T80" fmla="*/ 98 w 364"/>
                <a:gd name="T81" fmla="*/ 218 h 274"/>
                <a:gd name="T82" fmla="*/ 76 w 364"/>
                <a:gd name="T83" fmla="*/ 202 h 274"/>
                <a:gd name="T84" fmla="*/ 144 w 364"/>
                <a:gd name="T85" fmla="*/ 198 h 274"/>
                <a:gd name="T86" fmla="*/ 254 w 364"/>
                <a:gd name="T87" fmla="*/ 198 h 274"/>
                <a:gd name="T88" fmla="*/ 282 w 364"/>
                <a:gd name="T89" fmla="*/ 210 h 274"/>
                <a:gd name="T90" fmla="*/ 182 w 364"/>
                <a:gd name="T91" fmla="*/ 184 h 274"/>
                <a:gd name="T92" fmla="*/ 56 w 364"/>
                <a:gd name="T93" fmla="*/ 178 h 274"/>
                <a:gd name="T94" fmla="*/ 66 w 364"/>
                <a:gd name="T95" fmla="*/ 150 h 274"/>
                <a:gd name="T96" fmla="*/ 100 w 364"/>
                <a:gd name="T97" fmla="*/ 130 h 274"/>
                <a:gd name="T98" fmla="*/ 254 w 364"/>
                <a:gd name="T99" fmla="*/ 130 h 274"/>
                <a:gd name="T100" fmla="*/ 282 w 364"/>
                <a:gd name="T101" fmla="*/ 138 h 274"/>
                <a:gd name="T102" fmla="*/ 306 w 364"/>
                <a:gd name="T103" fmla="*/ 168 h 274"/>
                <a:gd name="T104" fmla="*/ 240 w 364"/>
                <a:gd name="T105" fmla="*/ 184 h 274"/>
                <a:gd name="T106" fmla="*/ 314 w 364"/>
                <a:gd name="T107" fmla="*/ 126 h 274"/>
                <a:gd name="T108" fmla="*/ 282 w 364"/>
                <a:gd name="T109" fmla="*/ 112 h 274"/>
                <a:gd name="T110" fmla="*/ 300 w 364"/>
                <a:gd name="T111" fmla="*/ 94 h 274"/>
                <a:gd name="T112" fmla="*/ 332 w 364"/>
                <a:gd name="T113" fmla="*/ 94 h 274"/>
                <a:gd name="T114" fmla="*/ 342 w 364"/>
                <a:gd name="T115" fmla="*/ 112 h 274"/>
                <a:gd name="T116" fmla="*/ 314 w 364"/>
                <a:gd name="T117" fmla="*/ 126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4" h="274">
                  <a:moveTo>
                    <a:pt x="338" y="72"/>
                  </a:moveTo>
                  <a:lnTo>
                    <a:pt x="338" y="72"/>
                  </a:lnTo>
                  <a:lnTo>
                    <a:pt x="332" y="64"/>
                  </a:lnTo>
                  <a:lnTo>
                    <a:pt x="332" y="64"/>
                  </a:lnTo>
                  <a:lnTo>
                    <a:pt x="322" y="46"/>
                  </a:lnTo>
                  <a:lnTo>
                    <a:pt x="310" y="32"/>
                  </a:lnTo>
                  <a:lnTo>
                    <a:pt x="298" y="1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4" y="6"/>
                  </a:lnTo>
                  <a:lnTo>
                    <a:pt x="278" y="4"/>
                  </a:lnTo>
                  <a:lnTo>
                    <a:pt x="264" y="2"/>
                  </a:lnTo>
                  <a:lnTo>
                    <a:pt x="238" y="2"/>
                  </a:lnTo>
                  <a:lnTo>
                    <a:pt x="238" y="2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00" y="2"/>
                  </a:lnTo>
                  <a:lnTo>
                    <a:pt x="86" y="4"/>
                  </a:lnTo>
                  <a:lnTo>
                    <a:pt x="80" y="6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66" y="18"/>
                  </a:lnTo>
                  <a:lnTo>
                    <a:pt x="54" y="32"/>
                  </a:lnTo>
                  <a:lnTo>
                    <a:pt x="42" y="46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90"/>
                  </a:lnTo>
                  <a:lnTo>
                    <a:pt x="8" y="110"/>
                  </a:lnTo>
                  <a:lnTo>
                    <a:pt x="4" y="122"/>
                  </a:lnTo>
                  <a:lnTo>
                    <a:pt x="2" y="136"/>
                  </a:lnTo>
                  <a:lnTo>
                    <a:pt x="0" y="152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96"/>
                  </a:lnTo>
                  <a:lnTo>
                    <a:pt x="2" y="212"/>
                  </a:lnTo>
                  <a:lnTo>
                    <a:pt x="6" y="228"/>
                  </a:lnTo>
                  <a:lnTo>
                    <a:pt x="6" y="228"/>
                  </a:lnTo>
                  <a:lnTo>
                    <a:pt x="8" y="232"/>
                  </a:lnTo>
                  <a:lnTo>
                    <a:pt x="10" y="236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2" y="268"/>
                  </a:lnTo>
                  <a:lnTo>
                    <a:pt x="14" y="270"/>
                  </a:lnTo>
                  <a:lnTo>
                    <a:pt x="18" y="274"/>
                  </a:lnTo>
                  <a:lnTo>
                    <a:pt x="22" y="274"/>
                  </a:lnTo>
                  <a:lnTo>
                    <a:pt x="48" y="274"/>
                  </a:lnTo>
                  <a:lnTo>
                    <a:pt x="48" y="274"/>
                  </a:lnTo>
                  <a:lnTo>
                    <a:pt x="54" y="274"/>
                  </a:lnTo>
                  <a:lnTo>
                    <a:pt x="58" y="270"/>
                  </a:lnTo>
                  <a:lnTo>
                    <a:pt x="60" y="268"/>
                  </a:lnTo>
                  <a:lnTo>
                    <a:pt x="60" y="262"/>
                  </a:lnTo>
                  <a:lnTo>
                    <a:pt x="60" y="238"/>
                  </a:lnTo>
                  <a:lnTo>
                    <a:pt x="182" y="236"/>
                  </a:lnTo>
                  <a:lnTo>
                    <a:pt x="304" y="238"/>
                  </a:lnTo>
                  <a:lnTo>
                    <a:pt x="304" y="262"/>
                  </a:lnTo>
                  <a:lnTo>
                    <a:pt x="304" y="262"/>
                  </a:lnTo>
                  <a:lnTo>
                    <a:pt x="304" y="268"/>
                  </a:lnTo>
                  <a:lnTo>
                    <a:pt x="306" y="270"/>
                  </a:lnTo>
                  <a:lnTo>
                    <a:pt x="310" y="274"/>
                  </a:lnTo>
                  <a:lnTo>
                    <a:pt x="316" y="274"/>
                  </a:lnTo>
                  <a:lnTo>
                    <a:pt x="342" y="274"/>
                  </a:lnTo>
                  <a:lnTo>
                    <a:pt x="342" y="274"/>
                  </a:lnTo>
                  <a:lnTo>
                    <a:pt x="346" y="274"/>
                  </a:lnTo>
                  <a:lnTo>
                    <a:pt x="350" y="270"/>
                  </a:lnTo>
                  <a:lnTo>
                    <a:pt x="352" y="268"/>
                  </a:lnTo>
                  <a:lnTo>
                    <a:pt x="354" y="262"/>
                  </a:lnTo>
                  <a:lnTo>
                    <a:pt x="354" y="236"/>
                  </a:lnTo>
                  <a:lnTo>
                    <a:pt x="354" y="236"/>
                  </a:lnTo>
                  <a:lnTo>
                    <a:pt x="356" y="232"/>
                  </a:lnTo>
                  <a:lnTo>
                    <a:pt x="360" y="228"/>
                  </a:lnTo>
                  <a:lnTo>
                    <a:pt x="360" y="228"/>
                  </a:lnTo>
                  <a:lnTo>
                    <a:pt x="362" y="212"/>
                  </a:lnTo>
                  <a:lnTo>
                    <a:pt x="364" y="196"/>
                  </a:lnTo>
                  <a:lnTo>
                    <a:pt x="364" y="172"/>
                  </a:lnTo>
                  <a:lnTo>
                    <a:pt x="364" y="172"/>
                  </a:lnTo>
                  <a:lnTo>
                    <a:pt x="364" y="152"/>
                  </a:lnTo>
                  <a:lnTo>
                    <a:pt x="362" y="136"/>
                  </a:lnTo>
                  <a:lnTo>
                    <a:pt x="360" y="122"/>
                  </a:lnTo>
                  <a:lnTo>
                    <a:pt x="356" y="110"/>
                  </a:lnTo>
                  <a:lnTo>
                    <a:pt x="348" y="90"/>
                  </a:lnTo>
                  <a:lnTo>
                    <a:pt x="338" y="72"/>
                  </a:lnTo>
                  <a:lnTo>
                    <a:pt x="338" y="72"/>
                  </a:lnTo>
                  <a:close/>
                  <a:moveTo>
                    <a:pt x="86" y="18"/>
                  </a:moveTo>
                  <a:lnTo>
                    <a:pt x="86" y="18"/>
                  </a:lnTo>
                  <a:lnTo>
                    <a:pt x="112" y="16"/>
                  </a:lnTo>
                  <a:lnTo>
                    <a:pt x="142" y="14"/>
                  </a:lnTo>
                  <a:lnTo>
                    <a:pt x="182" y="14"/>
                  </a:lnTo>
                  <a:lnTo>
                    <a:pt x="182" y="14"/>
                  </a:lnTo>
                  <a:lnTo>
                    <a:pt x="222" y="14"/>
                  </a:lnTo>
                  <a:lnTo>
                    <a:pt x="252" y="16"/>
                  </a:lnTo>
                  <a:lnTo>
                    <a:pt x="278" y="18"/>
                  </a:lnTo>
                  <a:lnTo>
                    <a:pt x="278" y="18"/>
                  </a:lnTo>
                  <a:lnTo>
                    <a:pt x="292" y="34"/>
                  </a:lnTo>
                  <a:lnTo>
                    <a:pt x="302" y="48"/>
                  </a:lnTo>
                  <a:lnTo>
                    <a:pt x="304" y="52"/>
                  </a:lnTo>
                  <a:lnTo>
                    <a:pt x="304" y="56"/>
                  </a:lnTo>
                  <a:lnTo>
                    <a:pt x="304" y="56"/>
                  </a:lnTo>
                  <a:lnTo>
                    <a:pt x="304" y="58"/>
                  </a:lnTo>
                  <a:lnTo>
                    <a:pt x="302" y="60"/>
                  </a:lnTo>
                  <a:lnTo>
                    <a:pt x="290" y="62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62" y="60"/>
                  </a:lnTo>
                  <a:lnTo>
                    <a:pt x="60" y="58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2" y="48"/>
                  </a:lnTo>
                  <a:lnTo>
                    <a:pt x="72" y="34"/>
                  </a:lnTo>
                  <a:lnTo>
                    <a:pt x="86" y="18"/>
                  </a:lnTo>
                  <a:lnTo>
                    <a:pt x="86" y="18"/>
                  </a:lnTo>
                  <a:close/>
                  <a:moveTo>
                    <a:pt x="194" y="118"/>
                  </a:moveTo>
                  <a:lnTo>
                    <a:pt x="194" y="118"/>
                  </a:lnTo>
                  <a:lnTo>
                    <a:pt x="194" y="120"/>
                  </a:lnTo>
                  <a:lnTo>
                    <a:pt x="190" y="122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74" y="122"/>
                  </a:lnTo>
                  <a:lnTo>
                    <a:pt x="170" y="120"/>
                  </a:lnTo>
                  <a:lnTo>
                    <a:pt x="170" y="118"/>
                  </a:lnTo>
                  <a:lnTo>
                    <a:pt x="170" y="118"/>
                  </a:lnTo>
                  <a:lnTo>
                    <a:pt x="170" y="116"/>
                  </a:lnTo>
                  <a:lnTo>
                    <a:pt x="174" y="114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90" y="114"/>
                  </a:lnTo>
                  <a:lnTo>
                    <a:pt x="194" y="116"/>
                  </a:lnTo>
                  <a:lnTo>
                    <a:pt x="194" y="118"/>
                  </a:lnTo>
                  <a:lnTo>
                    <a:pt x="194" y="118"/>
                  </a:lnTo>
                  <a:close/>
                  <a:moveTo>
                    <a:pt x="50" y="126"/>
                  </a:moveTo>
                  <a:lnTo>
                    <a:pt x="50" y="126"/>
                  </a:lnTo>
                  <a:lnTo>
                    <a:pt x="38" y="124"/>
                  </a:lnTo>
                  <a:lnTo>
                    <a:pt x="28" y="120"/>
                  </a:lnTo>
                  <a:lnTo>
                    <a:pt x="22" y="112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4" y="100"/>
                  </a:lnTo>
                  <a:lnTo>
                    <a:pt x="32" y="94"/>
                  </a:lnTo>
                  <a:lnTo>
                    <a:pt x="4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64" y="94"/>
                  </a:lnTo>
                  <a:lnTo>
                    <a:pt x="74" y="98"/>
                  </a:lnTo>
                  <a:lnTo>
                    <a:pt x="80" y="104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78" y="118"/>
                  </a:lnTo>
                  <a:lnTo>
                    <a:pt x="72" y="124"/>
                  </a:lnTo>
                  <a:lnTo>
                    <a:pt x="62" y="126"/>
                  </a:lnTo>
                  <a:lnTo>
                    <a:pt x="50" y="126"/>
                  </a:lnTo>
                  <a:lnTo>
                    <a:pt x="50" y="126"/>
                  </a:lnTo>
                  <a:close/>
                  <a:moveTo>
                    <a:pt x="268" y="218"/>
                  </a:moveTo>
                  <a:lnTo>
                    <a:pt x="268" y="218"/>
                  </a:lnTo>
                  <a:lnTo>
                    <a:pt x="242" y="220"/>
                  </a:lnTo>
                  <a:lnTo>
                    <a:pt x="182" y="222"/>
                  </a:lnTo>
                  <a:lnTo>
                    <a:pt x="182" y="222"/>
                  </a:lnTo>
                  <a:lnTo>
                    <a:pt x="122" y="220"/>
                  </a:lnTo>
                  <a:lnTo>
                    <a:pt x="98" y="218"/>
                  </a:lnTo>
                  <a:lnTo>
                    <a:pt x="98" y="218"/>
                  </a:lnTo>
                  <a:lnTo>
                    <a:pt x="88" y="216"/>
                  </a:lnTo>
                  <a:lnTo>
                    <a:pt x="82" y="210"/>
                  </a:lnTo>
                  <a:lnTo>
                    <a:pt x="76" y="202"/>
                  </a:lnTo>
                  <a:lnTo>
                    <a:pt x="74" y="194"/>
                  </a:lnTo>
                  <a:lnTo>
                    <a:pt x="74" y="194"/>
                  </a:lnTo>
                  <a:lnTo>
                    <a:pt x="110" y="198"/>
                  </a:lnTo>
                  <a:lnTo>
                    <a:pt x="144" y="198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220" y="198"/>
                  </a:lnTo>
                  <a:lnTo>
                    <a:pt x="254" y="198"/>
                  </a:lnTo>
                  <a:lnTo>
                    <a:pt x="290" y="194"/>
                  </a:lnTo>
                  <a:lnTo>
                    <a:pt x="290" y="194"/>
                  </a:lnTo>
                  <a:lnTo>
                    <a:pt x="288" y="202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68" y="218"/>
                  </a:lnTo>
                  <a:lnTo>
                    <a:pt x="268" y="218"/>
                  </a:lnTo>
                  <a:close/>
                  <a:moveTo>
                    <a:pt x="182" y="184"/>
                  </a:moveTo>
                  <a:lnTo>
                    <a:pt x="182" y="184"/>
                  </a:lnTo>
                  <a:lnTo>
                    <a:pt x="124" y="184"/>
                  </a:lnTo>
                  <a:lnTo>
                    <a:pt x="86" y="180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8" y="168"/>
                  </a:lnTo>
                  <a:lnTo>
                    <a:pt x="62" y="160"/>
                  </a:lnTo>
                  <a:lnTo>
                    <a:pt x="66" y="150"/>
                  </a:lnTo>
                  <a:lnTo>
                    <a:pt x="74" y="144"/>
                  </a:lnTo>
                  <a:lnTo>
                    <a:pt x="82" y="138"/>
                  </a:lnTo>
                  <a:lnTo>
                    <a:pt x="90" y="134"/>
                  </a:lnTo>
                  <a:lnTo>
                    <a:pt x="100" y="130"/>
                  </a:lnTo>
                  <a:lnTo>
                    <a:pt x="110" y="130"/>
                  </a:lnTo>
                  <a:lnTo>
                    <a:pt x="126" y="130"/>
                  </a:lnTo>
                  <a:lnTo>
                    <a:pt x="238" y="130"/>
                  </a:lnTo>
                  <a:lnTo>
                    <a:pt x="254" y="130"/>
                  </a:lnTo>
                  <a:lnTo>
                    <a:pt x="254" y="130"/>
                  </a:lnTo>
                  <a:lnTo>
                    <a:pt x="264" y="130"/>
                  </a:lnTo>
                  <a:lnTo>
                    <a:pt x="274" y="134"/>
                  </a:lnTo>
                  <a:lnTo>
                    <a:pt x="282" y="138"/>
                  </a:lnTo>
                  <a:lnTo>
                    <a:pt x="290" y="144"/>
                  </a:lnTo>
                  <a:lnTo>
                    <a:pt x="298" y="150"/>
                  </a:lnTo>
                  <a:lnTo>
                    <a:pt x="302" y="160"/>
                  </a:lnTo>
                  <a:lnTo>
                    <a:pt x="306" y="168"/>
                  </a:lnTo>
                  <a:lnTo>
                    <a:pt x="308" y="178"/>
                  </a:lnTo>
                  <a:lnTo>
                    <a:pt x="308" y="178"/>
                  </a:lnTo>
                  <a:lnTo>
                    <a:pt x="278" y="180"/>
                  </a:lnTo>
                  <a:lnTo>
                    <a:pt x="240" y="184"/>
                  </a:lnTo>
                  <a:lnTo>
                    <a:pt x="182" y="184"/>
                  </a:lnTo>
                  <a:lnTo>
                    <a:pt x="182" y="184"/>
                  </a:lnTo>
                  <a:close/>
                  <a:moveTo>
                    <a:pt x="314" y="126"/>
                  </a:moveTo>
                  <a:lnTo>
                    <a:pt x="314" y="126"/>
                  </a:lnTo>
                  <a:lnTo>
                    <a:pt x="302" y="126"/>
                  </a:lnTo>
                  <a:lnTo>
                    <a:pt x="292" y="124"/>
                  </a:lnTo>
                  <a:lnTo>
                    <a:pt x="286" y="118"/>
                  </a:lnTo>
                  <a:lnTo>
                    <a:pt x="282" y="112"/>
                  </a:lnTo>
                  <a:lnTo>
                    <a:pt x="282" y="112"/>
                  </a:lnTo>
                  <a:lnTo>
                    <a:pt x="284" y="104"/>
                  </a:lnTo>
                  <a:lnTo>
                    <a:pt x="290" y="98"/>
                  </a:lnTo>
                  <a:lnTo>
                    <a:pt x="300" y="94"/>
                  </a:lnTo>
                  <a:lnTo>
                    <a:pt x="312" y="92"/>
                  </a:lnTo>
                  <a:lnTo>
                    <a:pt x="312" y="92"/>
                  </a:lnTo>
                  <a:lnTo>
                    <a:pt x="322" y="92"/>
                  </a:lnTo>
                  <a:lnTo>
                    <a:pt x="332" y="94"/>
                  </a:lnTo>
                  <a:lnTo>
                    <a:pt x="340" y="100"/>
                  </a:lnTo>
                  <a:lnTo>
                    <a:pt x="342" y="106"/>
                  </a:lnTo>
                  <a:lnTo>
                    <a:pt x="342" y="106"/>
                  </a:lnTo>
                  <a:lnTo>
                    <a:pt x="342" y="112"/>
                  </a:lnTo>
                  <a:lnTo>
                    <a:pt x="336" y="120"/>
                  </a:lnTo>
                  <a:lnTo>
                    <a:pt x="326" y="124"/>
                  </a:lnTo>
                  <a:lnTo>
                    <a:pt x="314" y="126"/>
                  </a:lnTo>
                  <a:lnTo>
                    <a:pt x="31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8" name="Group 102">
            <a:extLst>
              <a:ext uri="{FF2B5EF4-FFF2-40B4-BE49-F238E27FC236}">
                <a16:creationId xmlns:a16="http://schemas.microsoft.com/office/drawing/2014/main" id="{7A7C32EC-C4F9-41BE-95C6-8B6543B95FBE}"/>
              </a:ext>
            </a:extLst>
          </p:cNvPr>
          <p:cNvGrpSpPr/>
          <p:nvPr/>
        </p:nvGrpSpPr>
        <p:grpSpPr>
          <a:xfrm>
            <a:off x="4650427" y="3726599"/>
            <a:ext cx="377876" cy="377876"/>
            <a:chOff x="1467520" y="2258092"/>
            <a:chExt cx="612000" cy="612000"/>
          </a:xfrm>
        </p:grpSpPr>
        <p:sp>
          <p:nvSpPr>
            <p:cNvPr id="39" name="Oval 110">
              <a:extLst>
                <a:ext uri="{FF2B5EF4-FFF2-40B4-BE49-F238E27FC236}">
                  <a16:creationId xmlns:a16="http://schemas.microsoft.com/office/drawing/2014/main" id="{21EB3EBD-BC1E-4434-A416-35FD4C900D24}"/>
                </a:ext>
              </a:extLst>
            </p:cNvPr>
            <p:cNvSpPr/>
            <p:nvPr/>
          </p:nvSpPr>
          <p:spPr bwMode="ltGray">
            <a:xfrm>
              <a:off x="1467520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40" name="Freeform 4958">
              <a:extLst>
                <a:ext uri="{FF2B5EF4-FFF2-40B4-BE49-F238E27FC236}">
                  <a16:creationId xmlns:a16="http://schemas.microsoft.com/office/drawing/2014/main" id="{237B25B5-3FD4-4F39-9C7E-44A30394BE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8809" y="2317369"/>
              <a:ext cx="500939" cy="488839"/>
            </a:xfrm>
            <a:custGeom>
              <a:avLst/>
              <a:gdLst>
                <a:gd name="T0" fmla="*/ 294 w 414"/>
                <a:gd name="T1" fmla="*/ 176 h 404"/>
                <a:gd name="T2" fmla="*/ 272 w 414"/>
                <a:gd name="T3" fmla="*/ 200 h 404"/>
                <a:gd name="T4" fmla="*/ 272 w 414"/>
                <a:gd name="T5" fmla="*/ 220 h 404"/>
                <a:gd name="T6" fmla="*/ 294 w 414"/>
                <a:gd name="T7" fmla="*/ 244 h 404"/>
                <a:gd name="T8" fmla="*/ 286 w 414"/>
                <a:gd name="T9" fmla="*/ 316 h 404"/>
                <a:gd name="T10" fmla="*/ 244 w 414"/>
                <a:gd name="T11" fmla="*/ 338 h 404"/>
                <a:gd name="T12" fmla="*/ 212 w 414"/>
                <a:gd name="T13" fmla="*/ 316 h 404"/>
                <a:gd name="T14" fmla="*/ 170 w 414"/>
                <a:gd name="T15" fmla="*/ 332 h 404"/>
                <a:gd name="T16" fmla="*/ 112 w 414"/>
                <a:gd name="T17" fmla="*/ 378 h 404"/>
                <a:gd name="T18" fmla="*/ 128 w 414"/>
                <a:gd name="T19" fmla="*/ 390 h 404"/>
                <a:gd name="T20" fmla="*/ 174 w 414"/>
                <a:gd name="T21" fmla="*/ 372 h 404"/>
                <a:gd name="T22" fmla="*/ 212 w 414"/>
                <a:gd name="T23" fmla="*/ 382 h 404"/>
                <a:gd name="T24" fmla="*/ 244 w 414"/>
                <a:gd name="T25" fmla="*/ 358 h 404"/>
                <a:gd name="T26" fmla="*/ 302 w 414"/>
                <a:gd name="T27" fmla="*/ 328 h 404"/>
                <a:gd name="T28" fmla="*/ 314 w 414"/>
                <a:gd name="T29" fmla="*/ 288 h 404"/>
                <a:gd name="T30" fmla="*/ 336 w 414"/>
                <a:gd name="T31" fmla="*/ 228 h 404"/>
                <a:gd name="T32" fmla="*/ 414 w 414"/>
                <a:gd name="T33" fmla="*/ 210 h 404"/>
                <a:gd name="T34" fmla="*/ 330 w 414"/>
                <a:gd name="T35" fmla="*/ 184 h 404"/>
                <a:gd name="T36" fmla="*/ 200 w 414"/>
                <a:gd name="T37" fmla="*/ 364 h 404"/>
                <a:gd name="T38" fmla="*/ 186 w 414"/>
                <a:gd name="T39" fmla="*/ 348 h 404"/>
                <a:gd name="T40" fmla="*/ 200 w 414"/>
                <a:gd name="T41" fmla="*/ 334 h 404"/>
                <a:gd name="T42" fmla="*/ 216 w 414"/>
                <a:gd name="T43" fmla="*/ 348 h 404"/>
                <a:gd name="T44" fmla="*/ 200 w 414"/>
                <a:gd name="T45" fmla="*/ 364 h 404"/>
                <a:gd name="T46" fmla="*/ 334 w 414"/>
                <a:gd name="T47" fmla="*/ 138 h 404"/>
                <a:gd name="T48" fmla="*/ 16 w 414"/>
                <a:gd name="T49" fmla="*/ 292 h 404"/>
                <a:gd name="T50" fmla="*/ 46 w 414"/>
                <a:gd name="T51" fmla="*/ 240 h 404"/>
                <a:gd name="T52" fmla="*/ 80 w 414"/>
                <a:gd name="T53" fmla="*/ 240 h 404"/>
                <a:gd name="T54" fmla="*/ 120 w 414"/>
                <a:gd name="T55" fmla="*/ 238 h 404"/>
                <a:gd name="T56" fmla="*/ 168 w 414"/>
                <a:gd name="T57" fmla="*/ 220 h 404"/>
                <a:gd name="T58" fmla="*/ 136 w 414"/>
                <a:gd name="T59" fmla="*/ 200 h 404"/>
                <a:gd name="T60" fmla="*/ 120 w 414"/>
                <a:gd name="T61" fmla="*/ 182 h 404"/>
                <a:gd name="T62" fmla="*/ 86 w 414"/>
                <a:gd name="T63" fmla="*/ 176 h 404"/>
                <a:gd name="T64" fmla="*/ 62 w 414"/>
                <a:gd name="T65" fmla="*/ 206 h 404"/>
                <a:gd name="T66" fmla="*/ 16 w 414"/>
                <a:gd name="T67" fmla="*/ 242 h 404"/>
                <a:gd name="T68" fmla="*/ 6 w 414"/>
                <a:gd name="T69" fmla="*/ 292 h 404"/>
                <a:gd name="T70" fmla="*/ 104 w 414"/>
                <a:gd name="T71" fmla="*/ 196 h 404"/>
                <a:gd name="T72" fmla="*/ 112 w 414"/>
                <a:gd name="T73" fmla="*/ 216 h 404"/>
                <a:gd name="T74" fmla="*/ 92 w 414"/>
                <a:gd name="T75" fmla="*/ 224 h 404"/>
                <a:gd name="T76" fmla="*/ 84 w 414"/>
                <a:gd name="T77" fmla="*/ 204 h 404"/>
                <a:gd name="T78" fmla="*/ 108 w 414"/>
                <a:gd name="T79" fmla="*/ 306 h 404"/>
                <a:gd name="T80" fmla="*/ 124 w 414"/>
                <a:gd name="T81" fmla="*/ 284 h 404"/>
                <a:gd name="T82" fmla="*/ 184 w 414"/>
                <a:gd name="T83" fmla="*/ 234 h 404"/>
                <a:gd name="T84" fmla="*/ 212 w 414"/>
                <a:gd name="T85" fmla="*/ 202 h 404"/>
                <a:gd name="T86" fmla="*/ 180 w 414"/>
                <a:gd name="T87" fmla="*/ 276 h 404"/>
                <a:gd name="T88" fmla="*/ 108 w 414"/>
                <a:gd name="T89" fmla="*/ 306 h 404"/>
                <a:gd name="T90" fmla="*/ 212 w 414"/>
                <a:gd name="T91" fmla="*/ 68 h 404"/>
                <a:gd name="T92" fmla="*/ 236 w 414"/>
                <a:gd name="T93" fmla="*/ 34 h 404"/>
                <a:gd name="T94" fmla="*/ 222 w 414"/>
                <a:gd name="T95" fmla="*/ 6 h 404"/>
                <a:gd name="T96" fmla="*/ 194 w 414"/>
                <a:gd name="T97" fmla="*/ 0 h 404"/>
                <a:gd name="T98" fmla="*/ 168 w 414"/>
                <a:gd name="T99" fmla="*/ 22 h 404"/>
                <a:gd name="T100" fmla="*/ 174 w 414"/>
                <a:gd name="T101" fmla="*/ 56 h 404"/>
                <a:gd name="T102" fmla="*/ 202 w 414"/>
                <a:gd name="T103" fmla="*/ 20 h 404"/>
                <a:gd name="T104" fmla="*/ 216 w 414"/>
                <a:gd name="T105" fmla="*/ 34 h 404"/>
                <a:gd name="T106" fmla="*/ 202 w 414"/>
                <a:gd name="T107" fmla="*/ 50 h 404"/>
                <a:gd name="T108" fmla="*/ 186 w 414"/>
                <a:gd name="T109" fmla="*/ 34 h 404"/>
                <a:gd name="T110" fmla="*/ 202 w 414"/>
                <a:gd name="T111" fmla="*/ 20 h 404"/>
                <a:gd name="T112" fmla="*/ 2 w 414"/>
                <a:gd name="T113" fmla="*/ 13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4" h="404">
                  <a:moveTo>
                    <a:pt x="314" y="176"/>
                  </a:moveTo>
                  <a:lnTo>
                    <a:pt x="314" y="30"/>
                  </a:lnTo>
                  <a:lnTo>
                    <a:pt x="314" y="30"/>
                  </a:lnTo>
                  <a:lnTo>
                    <a:pt x="294" y="20"/>
                  </a:lnTo>
                  <a:lnTo>
                    <a:pt x="294" y="176"/>
                  </a:lnTo>
                  <a:lnTo>
                    <a:pt x="294" y="176"/>
                  </a:lnTo>
                  <a:lnTo>
                    <a:pt x="286" y="180"/>
                  </a:lnTo>
                  <a:lnTo>
                    <a:pt x="280" y="184"/>
                  </a:lnTo>
                  <a:lnTo>
                    <a:pt x="274" y="192"/>
                  </a:lnTo>
                  <a:lnTo>
                    <a:pt x="272" y="200"/>
                  </a:lnTo>
                  <a:lnTo>
                    <a:pt x="232" y="200"/>
                  </a:lnTo>
                  <a:lnTo>
                    <a:pt x="232" y="202"/>
                  </a:lnTo>
                  <a:lnTo>
                    <a:pt x="232" y="202"/>
                  </a:lnTo>
                  <a:lnTo>
                    <a:pt x="230" y="220"/>
                  </a:lnTo>
                  <a:lnTo>
                    <a:pt x="272" y="220"/>
                  </a:lnTo>
                  <a:lnTo>
                    <a:pt x="272" y="220"/>
                  </a:lnTo>
                  <a:lnTo>
                    <a:pt x="274" y="228"/>
                  </a:lnTo>
                  <a:lnTo>
                    <a:pt x="280" y="234"/>
                  </a:lnTo>
                  <a:lnTo>
                    <a:pt x="286" y="240"/>
                  </a:lnTo>
                  <a:lnTo>
                    <a:pt x="294" y="244"/>
                  </a:lnTo>
                  <a:lnTo>
                    <a:pt x="294" y="288"/>
                  </a:lnTo>
                  <a:lnTo>
                    <a:pt x="294" y="288"/>
                  </a:lnTo>
                  <a:lnTo>
                    <a:pt x="294" y="298"/>
                  </a:lnTo>
                  <a:lnTo>
                    <a:pt x="290" y="308"/>
                  </a:lnTo>
                  <a:lnTo>
                    <a:pt x="286" y="316"/>
                  </a:lnTo>
                  <a:lnTo>
                    <a:pt x="280" y="324"/>
                  </a:lnTo>
                  <a:lnTo>
                    <a:pt x="272" y="330"/>
                  </a:lnTo>
                  <a:lnTo>
                    <a:pt x="264" y="334"/>
                  </a:lnTo>
                  <a:lnTo>
                    <a:pt x="254" y="338"/>
                  </a:lnTo>
                  <a:lnTo>
                    <a:pt x="244" y="338"/>
                  </a:lnTo>
                  <a:lnTo>
                    <a:pt x="234" y="338"/>
                  </a:lnTo>
                  <a:lnTo>
                    <a:pt x="234" y="338"/>
                  </a:lnTo>
                  <a:lnTo>
                    <a:pt x="230" y="328"/>
                  </a:lnTo>
                  <a:lnTo>
                    <a:pt x="222" y="320"/>
                  </a:lnTo>
                  <a:lnTo>
                    <a:pt x="212" y="316"/>
                  </a:lnTo>
                  <a:lnTo>
                    <a:pt x="200" y="314"/>
                  </a:lnTo>
                  <a:lnTo>
                    <a:pt x="200" y="314"/>
                  </a:lnTo>
                  <a:lnTo>
                    <a:pt x="188" y="316"/>
                  </a:lnTo>
                  <a:lnTo>
                    <a:pt x="178" y="322"/>
                  </a:lnTo>
                  <a:lnTo>
                    <a:pt x="170" y="33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46" y="350"/>
                  </a:lnTo>
                  <a:lnTo>
                    <a:pt x="128" y="362"/>
                  </a:lnTo>
                  <a:lnTo>
                    <a:pt x="112" y="378"/>
                  </a:lnTo>
                  <a:lnTo>
                    <a:pt x="100" y="396"/>
                  </a:lnTo>
                  <a:lnTo>
                    <a:pt x="100" y="396"/>
                  </a:lnTo>
                  <a:lnTo>
                    <a:pt x="118" y="404"/>
                  </a:lnTo>
                  <a:lnTo>
                    <a:pt x="118" y="404"/>
                  </a:lnTo>
                  <a:lnTo>
                    <a:pt x="128" y="390"/>
                  </a:lnTo>
                  <a:lnTo>
                    <a:pt x="140" y="378"/>
                  </a:lnTo>
                  <a:lnTo>
                    <a:pt x="152" y="370"/>
                  </a:lnTo>
                  <a:lnTo>
                    <a:pt x="168" y="362"/>
                  </a:lnTo>
                  <a:lnTo>
                    <a:pt x="168" y="362"/>
                  </a:lnTo>
                  <a:lnTo>
                    <a:pt x="174" y="372"/>
                  </a:lnTo>
                  <a:lnTo>
                    <a:pt x="182" y="378"/>
                  </a:lnTo>
                  <a:lnTo>
                    <a:pt x="190" y="382"/>
                  </a:lnTo>
                  <a:lnTo>
                    <a:pt x="200" y="384"/>
                  </a:lnTo>
                  <a:lnTo>
                    <a:pt x="200" y="384"/>
                  </a:lnTo>
                  <a:lnTo>
                    <a:pt x="212" y="382"/>
                  </a:lnTo>
                  <a:lnTo>
                    <a:pt x="222" y="378"/>
                  </a:lnTo>
                  <a:lnTo>
                    <a:pt x="230" y="370"/>
                  </a:lnTo>
                  <a:lnTo>
                    <a:pt x="234" y="358"/>
                  </a:lnTo>
                  <a:lnTo>
                    <a:pt x="244" y="358"/>
                  </a:lnTo>
                  <a:lnTo>
                    <a:pt x="244" y="358"/>
                  </a:lnTo>
                  <a:lnTo>
                    <a:pt x="258" y="358"/>
                  </a:lnTo>
                  <a:lnTo>
                    <a:pt x="272" y="354"/>
                  </a:lnTo>
                  <a:lnTo>
                    <a:pt x="284" y="346"/>
                  </a:lnTo>
                  <a:lnTo>
                    <a:pt x="294" y="338"/>
                  </a:lnTo>
                  <a:lnTo>
                    <a:pt x="302" y="328"/>
                  </a:lnTo>
                  <a:lnTo>
                    <a:pt x="310" y="316"/>
                  </a:lnTo>
                  <a:lnTo>
                    <a:pt x="314" y="302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44"/>
                  </a:lnTo>
                  <a:lnTo>
                    <a:pt x="314" y="244"/>
                  </a:lnTo>
                  <a:lnTo>
                    <a:pt x="324" y="240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38" y="220"/>
                  </a:lnTo>
                  <a:lnTo>
                    <a:pt x="414" y="220"/>
                  </a:lnTo>
                  <a:lnTo>
                    <a:pt x="414" y="220"/>
                  </a:lnTo>
                  <a:lnTo>
                    <a:pt x="414" y="210"/>
                  </a:lnTo>
                  <a:lnTo>
                    <a:pt x="414" y="210"/>
                  </a:lnTo>
                  <a:lnTo>
                    <a:pt x="414" y="200"/>
                  </a:lnTo>
                  <a:lnTo>
                    <a:pt x="338" y="200"/>
                  </a:lnTo>
                  <a:lnTo>
                    <a:pt x="338" y="200"/>
                  </a:lnTo>
                  <a:lnTo>
                    <a:pt x="336" y="192"/>
                  </a:lnTo>
                  <a:lnTo>
                    <a:pt x="330" y="184"/>
                  </a:lnTo>
                  <a:lnTo>
                    <a:pt x="324" y="180"/>
                  </a:lnTo>
                  <a:lnTo>
                    <a:pt x="314" y="176"/>
                  </a:lnTo>
                  <a:lnTo>
                    <a:pt x="314" y="176"/>
                  </a:lnTo>
                  <a:close/>
                  <a:moveTo>
                    <a:pt x="200" y="364"/>
                  </a:moveTo>
                  <a:lnTo>
                    <a:pt x="200" y="364"/>
                  </a:lnTo>
                  <a:lnTo>
                    <a:pt x="194" y="36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6" y="348"/>
                  </a:lnTo>
                  <a:lnTo>
                    <a:pt x="186" y="348"/>
                  </a:lnTo>
                  <a:lnTo>
                    <a:pt x="186" y="342"/>
                  </a:lnTo>
                  <a:lnTo>
                    <a:pt x="190" y="338"/>
                  </a:lnTo>
                  <a:lnTo>
                    <a:pt x="194" y="334"/>
                  </a:lnTo>
                  <a:lnTo>
                    <a:pt x="200" y="334"/>
                  </a:lnTo>
                  <a:lnTo>
                    <a:pt x="200" y="334"/>
                  </a:lnTo>
                  <a:lnTo>
                    <a:pt x="206" y="334"/>
                  </a:lnTo>
                  <a:lnTo>
                    <a:pt x="212" y="338"/>
                  </a:lnTo>
                  <a:lnTo>
                    <a:pt x="216" y="342"/>
                  </a:lnTo>
                  <a:lnTo>
                    <a:pt x="216" y="348"/>
                  </a:lnTo>
                  <a:lnTo>
                    <a:pt x="216" y="348"/>
                  </a:lnTo>
                  <a:lnTo>
                    <a:pt x="216" y="354"/>
                  </a:lnTo>
                  <a:lnTo>
                    <a:pt x="212" y="360"/>
                  </a:lnTo>
                  <a:lnTo>
                    <a:pt x="206" y="364"/>
                  </a:lnTo>
                  <a:lnTo>
                    <a:pt x="200" y="364"/>
                  </a:lnTo>
                  <a:lnTo>
                    <a:pt x="200" y="364"/>
                  </a:lnTo>
                  <a:close/>
                  <a:moveTo>
                    <a:pt x="334" y="118"/>
                  </a:moveTo>
                  <a:lnTo>
                    <a:pt x="394" y="118"/>
                  </a:lnTo>
                  <a:lnTo>
                    <a:pt x="394" y="118"/>
                  </a:lnTo>
                  <a:lnTo>
                    <a:pt x="402" y="138"/>
                  </a:lnTo>
                  <a:lnTo>
                    <a:pt x="334" y="138"/>
                  </a:lnTo>
                  <a:lnTo>
                    <a:pt x="334" y="118"/>
                  </a:lnTo>
                  <a:close/>
                  <a:moveTo>
                    <a:pt x="16" y="310"/>
                  </a:moveTo>
                  <a:lnTo>
                    <a:pt x="16" y="304"/>
                  </a:lnTo>
                  <a:lnTo>
                    <a:pt x="16" y="304"/>
                  </a:lnTo>
                  <a:lnTo>
                    <a:pt x="16" y="292"/>
                  </a:lnTo>
                  <a:lnTo>
                    <a:pt x="20" y="278"/>
                  </a:lnTo>
                  <a:lnTo>
                    <a:pt x="24" y="268"/>
                  </a:lnTo>
                  <a:lnTo>
                    <a:pt x="30" y="256"/>
                  </a:lnTo>
                  <a:lnTo>
                    <a:pt x="38" y="248"/>
                  </a:lnTo>
                  <a:lnTo>
                    <a:pt x="46" y="240"/>
                  </a:lnTo>
                  <a:lnTo>
                    <a:pt x="56" y="232"/>
                  </a:lnTo>
                  <a:lnTo>
                    <a:pt x="66" y="226"/>
                  </a:lnTo>
                  <a:lnTo>
                    <a:pt x="66" y="226"/>
                  </a:lnTo>
                  <a:lnTo>
                    <a:pt x="72" y="234"/>
                  </a:lnTo>
                  <a:lnTo>
                    <a:pt x="80" y="240"/>
                  </a:lnTo>
                  <a:lnTo>
                    <a:pt x="88" y="244"/>
                  </a:lnTo>
                  <a:lnTo>
                    <a:pt x="98" y="246"/>
                  </a:lnTo>
                  <a:lnTo>
                    <a:pt x="98" y="246"/>
                  </a:lnTo>
                  <a:lnTo>
                    <a:pt x="110" y="244"/>
                  </a:lnTo>
                  <a:lnTo>
                    <a:pt x="120" y="238"/>
                  </a:lnTo>
                  <a:lnTo>
                    <a:pt x="128" y="23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68" y="220"/>
                  </a:lnTo>
                  <a:lnTo>
                    <a:pt x="168" y="220"/>
                  </a:lnTo>
                  <a:lnTo>
                    <a:pt x="170" y="212"/>
                  </a:lnTo>
                  <a:lnTo>
                    <a:pt x="172" y="202"/>
                  </a:lnTo>
                  <a:lnTo>
                    <a:pt x="172" y="200"/>
                  </a:lnTo>
                  <a:lnTo>
                    <a:pt x="136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28" y="190"/>
                  </a:lnTo>
                  <a:lnTo>
                    <a:pt x="120" y="182"/>
                  </a:lnTo>
                  <a:lnTo>
                    <a:pt x="110" y="176"/>
                  </a:lnTo>
                  <a:lnTo>
                    <a:pt x="98" y="174"/>
                  </a:lnTo>
                  <a:lnTo>
                    <a:pt x="98" y="174"/>
                  </a:lnTo>
                  <a:lnTo>
                    <a:pt x="92" y="176"/>
                  </a:lnTo>
                  <a:lnTo>
                    <a:pt x="86" y="176"/>
                  </a:lnTo>
                  <a:lnTo>
                    <a:pt x="74" y="184"/>
                  </a:lnTo>
                  <a:lnTo>
                    <a:pt x="66" y="194"/>
                  </a:lnTo>
                  <a:lnTo>
                    <a:pt x="64" y="200"/>
                  </a:lnTo>
                  <a:lnTo>
                    <a:pt x="62" y="206"/>
                  </a:lnTo>
                  <a:lnTo>
                    <a:pt x="62" y="206"/>
                  </a:lnTo>
                  <a:lnTo>
                    <a:pt x="52" y="212"/>
                  </a:lnTo>
                  <a:lnTo>
                    <a:pt x="42" y="218"/>
                  </a:lnTo>
                  <a:lnTo>
                    <a:pt x="32" y="224"/>
                  </a:lnTo>
                  <a:lnTo>
                    <a:pt x="24" y="232"/>
                  </a:lnTo>
                  <a:lnTo>
                    <a:pt x="16" y="242"/>
                  </a:lnTo>
                  <a:lnTo>
                    <a:pt x="10" y="252"/>
                  </a:lnTo>
                  <a:lnTo>
                    <a:pt x="4" y="262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6" y="292"/>
                  </a:lnTo>
                  <a:lnTo>
                    <a:pt x="16" y="310"/>
                  </a:lnTo>
                  <a:lnTo>
                    <a:pt x="16" y="310"/>
                  </a:lnTo>
                  <a:close/>
                  <a:moveTo>
                    <a:pt x="98" y="194"/>
                  </a:moveTo>
                  <a:lnTo>
                    <a:pt x="98" y="194"/>
                  </a:lnTo>
                  <a:lnTo>
                    <a:pt x="104" y="196"/>
                  </a:lnTo>
                  <a:lnTo>
                    <a:pt x="110" y="198"/>
                  </a:lnTo>
                  <a:lnTo>
                    <a:pt x="112" y="204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0" y="220"/>
                  </a:lnTo>
                  <a:lnTo>
                    <a:pt x="104" y="224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2" y="224"/>
                  </a:lnTo>
                  <a:lnTo>
                    <a:pt x="88" y="220"/>
                  </a:lnTo>
                  <a:lnTo>
                    <a:pt x="84" y="216"/>
                  </a:lnTo>
                  <a:lnTo>
                    <a:pt x="82" y="210"/>
                  </a:lnTo>
                  <a:lnTo>
                    <a:pt x="82" y="210"/>
                  </a:lnTo>
                  <a:lnTo>
                    <a:pt x="84" y="204"/>
                  </a:lnTo>
                  <a:lnTo>
                    <a:pt x="88" y="198"/>
                  </a:lnTo>
                  <a:lnTo>
                    <a:pt x="92" y="196"/>
                  </a:lnTo>
                  <a:lnTo>
                    <a:pt x="98" y="194"/>
                  </a:lnTo>
                  <a:lnTo>
                    <a:pt x="98" y="194"/>
                  </a:lnTo>
                  <a:close/>
                  <a:moveTo>
                    <a:pt x="108" y="306"/>
                  </a:moveTo>
                  <a:lnTo>
                    <a:pt x="36" y="306"/>
                  </a:lnTo>
                  <a:lnTo>
                    <a:pt x="36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24" y="284"/>
                  </a:lnTo>
                  <a:lnTo>
                    <a:pt x="140" y="280"/>
                  </a:lnTo>
                  <a:lnTo>
                    <a:pt x="154" y="272"/>
                  </a:lnTo>
                  <a:lnTo>
                    <a:pt x="166" y="262"/>
                  </a:lnTo>
                  <a:lnTo>
                    <a:pt x="178" y="250"/>
                  </a:lnTo>
                  <a:lnTo>
                    <a:pt x="184" y="234"/>
                  </a:lnTo>
                  <a:lnTo>
                    <a:pt x="190" y="220"/>
                  </a:lnTo>
                  <a:lnTo>
                    <a:pt x="192" y="202"/>
                  </a:lnTo>
                  <a:lnTo>
                    <a:pt x="192" y="158"/>
                  </a:lnTo>
                  <a:lnTo>
                    <a:pt x="212" y="158"/>
                  </a:lnTo>
                  <a:lnTo>
                    <a:pt x="212" y="202"/>
                  </a:lnTo>
                  <a:lnTo>
                    <a:pt x="212" y="202"/>
                  </a:lnTo>
                  <a:lnTo>
                    <a:pt x="210" y="224"/>
                  </a:lnTo>
                  <a:lnTo>
                    <a:pt x="204" y="242"/>
                  </a:lnTo>
                  <a:lnTo>
                    <a:pt x="194" y="260"/>
                  </a:lnTo>
                  <a:lnTo>
                    <a:pt x="180" y="276"/>
                  </a:lnTo>
                  <a:lnTo>
                    <a:pt x="166" y="288"/>
                  </a:lnTo>
                  <a:lnTo>
                    <a:pt x="148" y="298"/>
                  </a:lnTo>
                  <a:lnTo>
                    <a:pt x="128" y="304"/>
                  </a:lnTo>
                  <a:lnTo>
                    <a:pt x="108" y="306"/>
                  </a:lnTo>
                  <a:lnTo>
                    <a:pt x="108" y="306"/>
                  </a:lnTo>
                  <a:close/>
                  <a:moveTo>
                    <a:pt x="192" y="68"/>
                  </a:moveTo>
                  <a:lnTo>
                    <a:pt x="192" y="98"/>
                  </a:lnTo>
                  <a:lnTo>
                    <a:pt x="212" y="98"/>
                  </a:lnTo>
                  <a:lnTo>
                    <a:pt x="212" y="68"/>
                  </a:lnTo>
                  <a:lnTo>
                    <a:pt x="212" y="68"/>
                  </a:lnTo>
                  <a:lnTo>
                    <a:pt x="222" y="64"/>
                  </a:lnTo>
                  <a:lnTo>
                    <a:pt x="230" y="56"/>
                  </a:lnTo>
                  <a:lnTo>
                    <a:pt x="236" y="46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6" y="28"/>
                  </a:lnTo>
                  <a:lnTo>
                    <a:pt x="234" y="22"/>
                  </a:lnTo>
                  <a:lnTo>
                    <a:pt x="230" y="16"/>
                  </a:lnTo>
                  <a:lnTo>
                    <a:pt x="226" y="10"/>
                  </a:lnTo>
                  <a:lnTo>
                    <a:pt x="222" y="6"/>
                  </a:lnTo>
                  <a:lnTo>
                    <a:pt x="216" y="2"/>
                  </a:lnTo>
                  <a:lnTo>
                    <a:pt x="208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194" y="0"/>
                  </a:lnTo>
                  <a:lnTo>
                    <a:pt x="188" y="2"/>
                  </a:lnTo>
                  <a:lnTo>
                    <a:pt x="182" y="6"/>
                  </a:lnTo>
                  <a:lnTo>
                    <a:pt x="176" y="10"/>
                  </a:lnTo>
                  <a:lnTo>
                    <a:pt x="172" y="16"/>
                  </a:lnTo>
                  <a:lnTo>
                    <a:pt x="168" y="22"/>
                  </a:lnTo>
                  <a:lnTo>
                    <a:pt x="166" y="28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8" y="46"/>
                  </a:lnTo>
                  <a:lnTo>
                    <a:pt x="174" y="56"/>
                  </a:lnTo>
                  <a:lnTo>
                    <a:pt x="182" y="64"/>
                  </a:lnTo>
                  <a:lnTo>
                    <a:pt x="192" y="68"/>
                  </a:lnTo>
                  <a:lnTo>
                    <a:pt x="192" y="68"/>
                  </a:lnTo>
                  <a:close/>
                  <a:moveTo>
                    <a:pt x="202" y="20"/>
                  </a:moveTo>
                  <a:lnTo>
                    <a:pt x="202" y="20"/>
                  </a:lnTo>
                  <a:lnTo>
                    <a:pt x="208" y="20"/>
                  </a:lnTo>
                  <a:lnTo>
                    <a:pt x="212" y="24"/>
                  </a:lnTo>
                  <a:lnTo>
                    <a:pt x="216" y="28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40"/>
                  </a:lnTo>
                  <a:lnTo>
                    <a:pt x="212" y="46"/>
                  </a:lnTo>
                  <a:lnTo>
                    <a:pt x="208" y="50"/>
                  </a:lnTo>
                  <a:lnTo>
                    <a:pt x="202" y="50"/>
                  </a:lnTo>
                  <a:lnTo>
                    <a:pt x="202" y="50"/>
                  </a:lnTo>
                  <a:lnTo>
                    <a:pt x="196" y="50"/>
                  </a:lnTo>
                  <a:lnTo>
                    <a:pt x="190" y="46"/>
                  </a:lnTo>
                  <a:lnTo>
                    <a:pt x="188" y="40"/>
                  </a:lnTo>
                  <a:lnTo>
                    <a:pt x="186" y="34"/>
                  </a:lnTo>
                  <a:lnTo>
                    <a:pt x="186" y="34"/>
                  </a:lnTo>
                  <a:lnTo>
                    <a:pt x="188" y="28"/>
                  </a:lnTo>
                  <a:lnTo>
                    <a:pt x="190" y="24"/>
                  </a:lnTo>
                  <a:lnTo>
                    <a:pt x="196" y="20"/>
                  </a:lnTo>
                  <a:lnTo>
                    <a:pt x="202" y="20"/>
                  </a:lnTo>
                  <a:lnTo>
                    <a:pt x="202" y="20"/>
                  </a:lnTo>
                  <a:close/>
                  <a:moveTo>
                    <a:pt x="10" y="118"/>
                  </a:moveTo>
                  <a:lnTo>
                    <a:pt x="274" y="118"/>
                  </a:lnTo>
                  <a:lnTo>
                    <a:pt x="274" y="138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10" y="118"/>
                  </a:lnTo>
                  <a:lnTo>
                    <a:pt x="10" y="1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1" name="Rectangle 38">
            <a:extLst>
              <a:ext uri="{FF2B5EF4-FFF2-40B4-BE49-F238E27FC236}">
                <a16:creationId xmlns:a16="http://schemas.microsoft.com/office/drawing/2014/main" id="{E3D6FC6F-A249-4228-89E7-7F1E9D6EB3FE}"/>
              </a:ext>
            </a:extLst>
          </p:cNvPr>
          <p:cNvSpPr/>
          <p:nvPr/>
        </p:nvSpPr>
        <p:spPr>
          <a:xfrm>
            <a:off x="1229856" y="2348632"/>
            <a:ext cx="1257096" cy="334210"/>
          </a:xfrm>
          <a:custGeom>
            <a:avLst/>
            <a:gdLst>
              <a:gd name="connsiteX0" fmla="*/ 0 w 1257096"/>
              <a:gd name="connsiteY0" fmla="*/ 0 h 334210"/>
              <a:gd name="connsiteX1" fmla="*/ 615977 w 1257096"/>
              <a:gd name="connsiteY1" fmla="*/ 0 h 334210"/>
              <a:gd name="connsiteX2" fmla="*/ 1257096 w 1257096"/>
              <a:gd name="connsiteY2" fmla="*/ 0 h 334210"/>
              <a:gd name="connsiteX3" fmla="*/ 1257096 w 1257096"/>
              <a:gd name="connsiteY3" fmla="*/ 334210 h 334210"/>
              <a:gd name="connsiteX4" fmla="*/ 641119 w 1257096"/>
              <a:gd name="connsiteY4" fmla="*/ 334210 h 334210"/>
              <a:gd name="connsiteX5" fmla="*/ 0 w 1257096"/>
              <a:gd name="connsiteY5" fmla="*/ 334210 h 334210"/>
              <a:gd name="connsiteX6" fmla="*/ 0 w 1257096"/>
              <a:gd name="connsiteY6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57096" h="334210" extrusionOk="0">
                <a:moveTo>
                  <a:pt x="0" y="0"/>
                </a:moveTo>
                <a:cubicBezTo>
                  <a:pt x="196790" y="-10866"/>
                  <a:pt x="473374" y="-7845"/>
                  <a:pt x="615977" y="0"/>
                </a:cubicBezTo>
                <a:cubicBezTo>
                  <a:pt x="758580" y="7845"/>
                  <a:pt x="1125337" y="27167"/>
                  <a:pt x="1257096" y="0"/>
                </a:cubicBezTo>
                <a:cubicBezTo>
                  <a:pt x="1241890" y="143626"/>
                  <a:pt x="1256451" y="262906"/>
                  <a:pt x="1257096" y="334210"/>
                </a:cubicBezTo>
                <a:cubicBezTo>
                  <a:pt x="1052483" y="306522"/>
                  <a:pt x="824807" y="356284"/>
                  <a:pt x="641119" y="334210"/>
                </a:cubicBezTo>
                <a:cubicBezTo>
                  <a:pt x="457431" y="312136"/>
                  <a:pt x="252817" y="331702"/>
                  <a:pt x="0" y="334210"/>
                </a:cubicBezTo>
                <a:cubicBezTo>
                  <a:pt x="-4195" y="185538"/>
                  <a:pt x="10805" y="94364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Hidrógeno verde</a:t>
            </a:r>
            <a:endParaRPr lang="es-ES" b="1" u="sng" dirty="0">
              <a:solidFill>
                <a:schemeClr val="tx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42" name="Rectangle 38">
            <a:extLst>
              <a:ext uri="{FF2B5EF4-FFF2-40B4-BE49-F238E27FC236}">
                <a16:creationId xmlns:a16="http://schemas.microsoft.com/office/drawing/2014/main" id="{7317BAA9-4B0A-44C2-A0F3-14B2CEC0B1C0}"/>
              </a:ext>
            </a:extLst>
          </p:cNvPr>
          <p:cNvSpPr/>
          <p:nvPr/>
        </p:nvSpPr>
        <p:spPr>
          <a:xfrm>
            <a:off x="5036707" y="2348632"/>
            <a:ext cx="2238365" cy="334210"/>
          </a:xfrm>
          <a:custGeom>
            <a:avLst/>
            <a:gdLst>
              <a:gd name="connsiteX0" fmla="*/ 0 w 2238365"/>
              <a:gd name="connsiteY0" fmla="*/ 0 h 334210"/>
              <a:gd name="connsiteX1" fmla="*/ 537208 w 2238365"/>
              <a:gd name="connsiteY1" fmla="*/ 0 h 334210"/>
              <a:gd name="connsiteX2" fmla="*/ 1119183 w 2238365"/>
              <a:gd name="connsiteY2" fmla="*/ 0 h 334210"/>
              <a:gd name="connsiteX3" fmla="*/ 1611623 w 2238365"/>
              <a:gd name="connsiteY3" fmla="*/ 0 h 334210"/>
              <a:gd name="connsiteX4" fmla="*/ 2238365 w 2238365"/>
              <a:gd name="connsiteY4" fmla="*/ 0 h 334210"/>
              <a:gd name="connsiteX5" fmla="*/ 2238365 w 2238365"/>
              <a:gd name="connsiteY5" fmla="*/ 334210 h 334210"/>
              <a:gd name="connsiteX6" fmla="*/ 1723541 w 2238365"/>
              <a:gd name="connsiteY6" fmla="*/ 334210 h 334210"/>
              <a:gd name="connsiteX7" fmla="*/ 1163950 w 2238365"/>
              <a:gd name="connsiteY7" fmla="*/ 334210 h 334210"/>
              <a:gd name="connsiteX8" fmla="*/ 626742 w 2238365"/>
              <a:gd name="connsiteY8" fmla="*/ 334210 h 334210"/>
              <a:gd name="connsiteX9" fmla="*/ 0 w 2238365"/>
              <a:gd name="connsiteY9" fmla="*/ 334210 h 334210"/>
              <a:gd name="connsiteX10" fmla="*/ 0 w 2238365"/>
              <a:gd name="connsiteY10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38365" h="334210" extrusionOk="0">
                <a:moveTo>
                  <a:pt x="0" y="0"/>
                </a:moveTo>
                <a:cubicBezTo>
                  <a:pt x="184758" y="16093"/>
                  <a:pt x="268615" y="-6203"/>
                  <a:pt x="537208" y="0"/>
                </a:cubicBezTo>
                <a:cubicBezTo>
                  <a:pt x="805801" y="6203"/>
                  <a:pt x="888078" y="8610"/>
                  <a:pt x="1119183" y="0"/>
                </a:cubicBezTo>
                <a:cubicBezTo>
                  <a:pt x="1350289" y="-8610"/>
                  <a:pt x="1495104" y="4269"/>
                  <a:pt x="1611623" y="0"/>
                </a:cubicBezTo>
                <a:cubicBezTo>
                  <a:pt x="1728142" y="-4269"/>
                  <a:pt x="2043261" y="-3358"/>
                  <a:pt x="2238365" y="0"/>
                </a:cubicBezTo>
                <a:cubicBezTo>
                  <a:pt x="2224251" y="129454"/>
                  <a:pt x="2243111" y="185919"/>
                  <a:pt x="2238365" y="334210"/>
                </a:cubicBezTo>
                <a:cubicBezTo>
                  <a:pt x="1995487" y="353360"/>
                  <a:pt x="1855649" y="340591"/>
                  <a:pt x="1723541" y="334210"/>
                </a:cubicBezTo>
                <a:cubicBezTo>
                  <a:pt x="1591433" y="327829"/>
                  <a:pt x="1378430" y="313470"/>
                  <a:pt x="1163950" y="334210"/>
                </a:cubicBezTo>
                <a:cubicBezTo>
                  <a:pt x="949470" y="354950"/>
                  <a:pt x="750244" y="329663"/>
                  <a:pt x="626742" y="334210"/>
                </a:cubicBezTo>
                <a:cubicBezTo>
                  <a:pt x="503240" y="338757"/>
                  <a:pt x="268825" y="348048"/>
                  <a:pt x="0" y="334210"/>
                </a:cubicBezTo>
                <a:cubicBezTo>
                  <a:pt x="-16612" y="255045"/>
                  <a:pt x="11709" y="146767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Automoción verde y conectada</a:t>
            </a:r>
          </a:p>
        </p:txBody>
      </p:sp>
      <p:sp>
        <p:nvSpPr>
          <p:cNvPr id="43" name="Rectangle 38">
            <a:extLst>
              <a:ext uri="{FF2B5EF4-FFF2-40B4-BE49-F238E27FC236}">
                <a16:creationId xmlns:a16="http://schemas.microsoft.com/office/drawing/2014/main" id="{61BD0B26-2252-4440-A440-8D7B3AC9FEF4}"/>
              </a:ext>
            </a:extLst>
          </p:cNvPr>
          <p:cNvSpPr/>
          <p:nvPr/>
        </p:nvSpPr>
        <p:spPr>
          <a:xfrm>
            <a:off x="5232210" y="5378750"/>
            <a:ext cx="1912517" cy="334210"/>
          </a:xfrm>
          <a:custGeom>
            <a:avLst/>
            <a:gdLst>
              <a:gd name="connsiteX0" fmla="*/ 0 w 1912517"/>
              <a:gd name="connsiteY0" fmla="*/ 0 h 334210"/>
              <a:gd name="connsiteX1" fmla="*/ 618380 w 1912517"/>
              <a:gd name="connsiteY1" fmla="*/ 0 h 334210"/>
              <a:gd name="connsiteX2" fmla="*/ 1275011 w 1912517"/>
              <a:gd name="connsiteY2" fmla="*/ 0 h 334210"/>
              <a:gd name="connsiteX3" fmla="*/ 1912517 w 1912517"/>
              <a:gd name="connsiteY3" fmla="*/ 0 h 334210"/>
              <a:gd name="connsiteX4" fmla="*/ 1912517 w 1912517"/>
              <a:gd name="connsiteY4" fmla="*/ 334210 h 334210"/>
              <a:gd name="connsiteX5" fmla="*/ 1255886 w 1912517"/>
              <a:gd name="connsiteY5" fmla="*/ 334210 h 334210"/>
              <a:gd name="connsiteX6" fmla="*/ 599255 w 1912517"/>
              <a:gd name="connsiteY6" fmla="*/ 334210 h 334210"/>
              <a:gd name="connsiteX7" fmla="*/ 0 w 1912517"/>
              <a:gd name="connsiteY7" fmla="*/ 334210 h 334210"/>
              <a:gd name="connsiteX8" fmla="*/ 0 w 1912517"/>
              <a:gd name="connsiteY8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517" h="334210" extrusionOk="0">
                <a:moveTo>
                  <a:pt x="0" y="0"/>
                </a:moveTo>
                <a:cubicBezTo>
                  <a:pt x="137741" y="28479"/>
                  <a:pt x="474628" y="7275"/>
                  <a:pt x="618380" y="0"/>
                </a:cubicBezTo>
                <a:cubicBezTo>
                  <a:pt x="762132" y="-7275"/>
                  <a:pt x="1118413" y="-23505"/>
                  <a:pt x="1275011" y="0"/>
                </a:cubicBezTo>
                <a:cubicBezTo>
                  <a:pt x="1431609" y="23505"/>
                  <a:pt x="1714012" y="15414"/>
                  <a:pt x="1912517" y="0"/>
                </a:cubicBezTo>
                <a:cubicBezTo>
                  <a:pt x="1898661" y="74211"/>
                  <a:pt x="1903370" y="208865"/>
                  <a:pt x="1912517" y="334210"/>
                </a:cubicBezTo>
                <a:cubicBezTo>
                  <a:pt x="1750955" y="348225"/>
                  <a:pt x="1393767" y="342371"/>
                  <a:pt x="1255886" y="334210"/>
                </a:cubicBezTo>
                <a:cubicBezTo>
                  <a:pt x="1118005" y="326049"/>
                  <a:pt x="917427" y="325286"/>
                  <a:pt x="599255" y="334210"/>
                </a:cubicBezTo>
                <a:cubicBezTo>
                  <a:pt x="281083" y="343134"/>
                  <a:pt x="206765" y="305952"/>
                  <a:pt x="0" y="334210"/>
                </a:cubicBezTo>
                <a:cubicBezTo>
                  <a:pt x="14956" y="213132"/>
                  <a:pt x="4192" y="145951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Microprocesadores</a:t>
            </a:r>
            <a:endParaRPr lang="es-ES" b="1" u="sng" dirty="0">
              <a:solidFill>
                <a:schemeClr val="tx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45" name="Rectangle 38">
            <a:extLst>
              <a:ext uri="{FF2B5EF4-FFF2-40B4-BE49-F238E27FC236}">
                <a16:creationId xmlns:a16="http://schemas.microsoft.com/office/drawing/2014/main" id="{DE8DEE2B-A0D2-47E5-8D9C-6F6461429052}"/>
              </a:ext>
            </a:extLst>
          </p:cNvPr>
          <p:cNvSpPr/>
          <p:nvPr/>
        </p:nvSpPr>
        <p:spPr>
          <a:xfrm>
            <a:off x="9269262" y="2348632"/>
            <a:ext cx="1329753" cy="334210"/>
          </a:xfrm>
          <a:custGeom>
            <a:avLst/>
            <a:gdLst>
              <a:gd name="connsiteX0" fmla="*/ 0 w 1329753"/>
              <a:gd name="connsiteY0" fmla="*/ 0 h 334210"/>
              <a:gd name="connsiteX1" fmla="*/ 651579 w 1329753"/>
              <a:gd name="connsiteY1" fmla="*/ 0 h 334210"/>
              <a:gd name="connsiteX2" fmla="*/ 1329753 w 1329753"/>
              <a:gd name="connsiteY2" fmla="*/ 0 h 334210"/>
              <a:gd name="connsiteX3" fmla="*/ 1329753 w 1329753"/>
              <a:gd name="connsiteY3" fmla="*/ 334210 h 334210"/>
              <a:gd name="connsiteX4" fmla="*/ 678174 w 1329753"/>
              <a:gd name="connsiteY4" fmla="*/ 334210 h 334210"/>
              <a:gd name="connsiteX5" fmla="*/ 0 w 1329753"/>
              <a:gd name="connsiteY5" fmla="*/ 334210 h 334210"/>
              <a:gd name="connsiteX6" fmla="*/ 0 w 1329753"/>
              <a:gd name="connsiteY6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29753" h="334210" extrusionOk="0">
                <a:moveTo>
                  <a:pt x="0" y="0"/>
                </a:moveTo>
                <a:cubicBezTo>
                  <a:pt x="269086" y="29275"/>
                  <a:pt x="447729" y="-31031"/>
                  <a:pt x="651579" y="0"/>
                </a:cubicBezTo>
                <a:cubicBezTo>
                  <a:pt x="855429" y="31031"/>
                  <a:pt x="1193264" y="-440"/>
                  <a:pt x="1329753" y="0"/>
                </a:cubicBezTo>
                <a:cubicBezTo>
                  <a:pt x="1314547" y="143626"/>
                  <a:pt x="1329108" y="262906"/>
                  <a:pt x="1329753" y="334210"/>
                </a:cubicBezTo>
                <a:cubicBezTo>
                  <a:pt x="1032643" y="306557"/>
                  <a:pt x="956046" y="305852"/>
                  <a:pt x="678174" y="334210"/>
                </a:cubicBezTo>
                <a:cubicBezTo>
                  <a:pt x="400302" y="362568"/>
                  <a:pt x="242326" y="363336"/>
                  <a:pt x="0" y="334210"/>
                </a:cubicBezTo>
                <a:cubicBezTo>
                  <a:pt x="-4195" y="185538"/>
                  <a:pt x="10805" y="94364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Aeroespacial</a:t>
            </a:r>
          </a:p>
        </p:txBody>
      </p:sp>
      <p:sp>
        <p:nvSpPr>
          <p:cNvPr id="46" name="Rectangle 38">
            <a:extLst>
              <a:ext uri="{FF2B5EF4-FFF2-40B4-BE49-F238E27FC236}">
                <a16:creationId xmlns:a16="http://schemas.microsoft.com/office/drawing/2014/main" id="{A64D0FB6-5050-4881-9AA9-9E73E2D9C784}"/>
              </a:ext>
            </a:extLst>
          </p:cNvPr>
          <p:cNvSpPr/>
          <p:nvPr/>
        </p:nvSpPr>
        <p:spPr>
          <a:xfrm>
            <a:off x="5091044" y="3759929"/>
            <a:ext cx="2238365" cy="334210"/>
          </a:xfrm>
          <a:custGeom>
            <a:avLst/>
            <a:gdLst>
              <a:gd name="connsiteX0" fmla="*/ 0 w 2238365"/>
              <a:gd name="connsiteY0" fmla="*/ 0 h 334210"/>
              <a:gd name="connsiteX1" fmla="*/ 537208 w 2238365"/>
              <a:gd name="connsiteY1" fmla="*/ 0 h 334210"/>
              <a:gd name="connsiteX2" fmla="*/ 1119183 w 2238365"/>
              <a:gd name="connsiteY2" fmla="*/ 0 h 334210"/>
              <a:gd name="connsiteX3" fmla="*/ 1611623 w 2238365"/>
              <a:gd name="connsiteY3" fmla="*/ 0 h 334210"/>
              <a:gd name="connsiteX4" fmla="*/ 2238365 w 2238365"/>
              <a:gd name="connsiteY4" fmla="*/ 0 h 334210"/>
              <a:gd name="connsiteX5" fmla="*/ 2238365 w 2238365"/>
              <a:gd name="connsiteY5" fmla="*/ 334210 h 334210"/>
              <a:gd name="connsiteX6" fmla="*/ 1723541 w 2238365"/>
              <a:gd name="connsiteY6" fmla="*/ 334210 h 334210"/>
              <a:gd name="connsiteX7" fmla="*/ 1163950 w 2238365"/>
              <a:gd name="connsiteY7" fmla="*/ 334210 h 334210"/>
              <a:gd name="connsiteX8" fmla="*/ 626742 w 2238365"/>
              <a:gd name="connsiteY8" fmla="*/ 334210 h 334210"/>
              <a:gd name="connsiteX9" fmla="*/ 0 w 2238365"/>
              <a:gd name="connsiteY9" fmla="*/ 334210 h 334210"/>
              <a:gd name="connsiteX10" fmla="*/ 0 w 2238365"/>
              <a:gd name="connsiteY10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38365" h="334210" extrusionOk="0">
                <a:moveTo>
                  <a:pt x="0" y="0"/>
                </a:moveTo>
                <a:cubicBezTo>
                  <a:pt x="184758" y="16093"/>
                  <a:pt x="268615" y="-6203"/>
                  <a:pt x="537208" y="0"/>
                </a:cubicBezTo>
                <a:cubicBezTo>
                  <a:pt x="805801" y="6203"/>
                  <a:pt x="888078" y="8610"/>
                  <a:pt x="1119183" y="0"/>
                </a:cubicBezTo>
                <a:cubicBezTo>
                  <a:pt x="1350289" y="-8610"/>
                  <a:pt x="1495104" y="4269"/>
                  <a:pt x="1611623" y="0"/>
                </a:cubicBezTo>
                <a:cubicBezTo>
                  <a:pt x="1728142" y="-4269"/>
                  <a:pt x="2043261" y="-3358"/>
                  <a:pt x="2238365" y="0"/>
                </a:cubicBezTo>
                <a:cubicBezTo>
                  <a:pt x="2224251" y="129454"/>
                  <a:pt x="2243111" y="185919"/>
                  <a:pt x="2238365" y="334210"/>
                </a:cubicBezTo>
                <a:cubicBezTo>
                  <a:pt x="1995487" y="353360"/>
                  <a:pt x="1855649" y="340591"/>
                  <a:pt x="1723541" y="334210"/>
                </a:cubicBezTo>
                <a:cubicBezTo>
                  <a:pt x="1591433" y="327829"/>
                  <a:pt x="1378430" y="313470"/>
                  <a:pt x="1163950" y="334210"/>
                </a:cubicBezTo>
                <a:cubicBezTo>
                  <a:pt x="949470" y="354950"/>
                  <a:pt x="750244" y="329663"/>
                  <a:pt x="626742" y="334210"/>
                </a:cubicBezTo>
                <a:cubicBezTo>
                  <a:pt x="503240" y="338757"/>
                  <a:pt x="268825" y="348048"/>
                  <a:pt x="0" y="334210"/>
                </a:cubicBezTo>
                <a:cubicBezTo>
                  <a:pt x="-16612" y="255045"/>
                  <a:pt x="11709" y="146767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IA</a:t>
            </a:r>
            <a:endParaRPr lang="es-ES" b="1" u="sng" dirty="0">
              <a:solidFill>
                <a:schemeClr val="tx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717206" y="-200739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RTE: pendientes de Convocatorias</a:t>
            </a:r>
          </a:p>
        </p:txBody>
      </p:sp>
      <p:cxnSp>
        <p:nvCxnSpPr>
          <p:cNvPr id="49" name="9 Conector recto">
            <a:extLst>
              <a:ext uri="{FF2B5EF4-FFF2-40B4-BE49-F238E27FC236}">
                <a16:creationId xmlns:a16="http://schemas.microsoft.com/office/drawing/2014/main" id="{28AC44F1-DC2B-4CB8-8B10-DA4CC8A0B8AC}"/>
              </a:ext>
            </a:extLst>
          </p:cNvPr>
          <p:cNvCxnSpPr>
            <a:cxnSpLocks/>
          </p:cNvCxnSpPr>
          <p:nvPr/>
        </p:nvCxnSpPr>
        <p:spPr>
          <a:xfrm>
            <a:off x="8219090" y="644691"/>
            <a:ext cx="37335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Rectangle 38">
            <a:extLst>
              <a:ext uri="{FF2B5EF4-FFF2-40B4-BE49-F238E27FC236}">
                <a16:creationId xmlns:a16="http://schemas.microsoft.com/office/drawing/2014/main" id="{14DA75E1-5F1D-4DAF-B6EB-018C79DB92DD}"/>
              </a:ext>
            </a:extLst>
          </p:cNvPr>
          <p:cNvSpPr/>
          <p:nvPr/>
        </p:nvSpPr>
        <p:spPr>
          <a:xfrm>
            <a:off x="1363783" y="3766414"/>
            <a:ext cx="1868944" cy="334210"/>
          </a:xfrm>
          <a:custGeom>
            <a:avLst/>
            <a:gdLst>
              <a:gd name="connsiteX0" fmla="*/ 0 w 1868944"/>
              <a:gd name="connsiteY0" fmla="*/ 0 h 334210"/>
              <a:gd name="connsiteX1" fmla="*/ 604292 w 1868944"/>
              <a:gd name="connsiteY1" fmla="*/ 0 h 334210"/>
              <a:gd name="connsiteX2" fmla="*/ 1245963 w 1868944"/>
              <a:gd name="connsiteY2" fmla="*/ 0 h 334210"/>
              <a:gd name="connsiteX3" fmla="*/ 1868944 w 1868944"/>
              <a:gd name="connsiteY3" fmla="*/ 0 h 334210"/>
              <a:gd name="connsiteX4" fmla="*/ 1868944 w 1868944"/>
              <a:gd name="connsiteY4" fmla="*/ 334210 h 334210"/>
              <a:gd name="connsiteX5" fmla="*/ 1227273 w 1868944"/>
              <a:gd name="connsiteY5" fmla="*/ 334210 h 334210"/>
              <a:gd name="connsiteX6" fmla="*/ 585602 w 1868944"/>
              <a:gd name="connsiteY6" fmla="*/ 334210 h 334210"/>
              <a:gd name="connsiteX7" fmla="*/ 0 w 1868944"/>
              <a:gd name="connsiteY7" fmla="*/ 334210 h 334210"/>
              <a:gd name="connsiteX8" fmla="*/ 0 w 1868944"/>
              <a:gd name="connsiteY8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68944" h="334210" extrusionOk="0">
                <a:moveTo>
                  <a:pt x="0" y="0"/>
                </a:moveTo>
                <a:cubicBezTo>
                  <a:pt x="220094" y="-25362"/>
                  <a:pt x="456232" y="12913"/>
                  <a:pt x="604292" y="0"/>
                </a:cubicBezTo>
                <a:cubicBezTo>
                  <a:pt x="752352" y="-12913"/>
                  <a:pt x="1037269" y="-24612"/>
                  <a:pt x="1245963" y="0"/>
                </a:cubicBezTo>
                <a:cubicBezTo>
                  <a:pt x="1454657" y="24612"/>
                  <a:pt x="1694282" y="23270"/>
                  <a:pt x="1868944" y="0"/>
                </a:cubicBezTo>
                <a:cubicBezTo>
                  <a:pt x="1855088" y="74211"/>
                  <a:pt x="1859797" y="208865"/>
                  <a:pt x="1868944" y="334210"/>
                </a:cubicBezTo>
                <a:cubicBezTo>
                  <a:pt x="1591688" y="336269"/>
                  <a:pt x="1519147" y="364804"/>
                  <a:pt x="1227273" y="334210"/>
                </a:cubicBezTo>
                <a:cubicBezTo>
                  <a:pt x="935399" y="303616"/>
                  <a:pt x="769336" y="347261"/>
                  <a:pt x="585602" y="334210"/>
                </a:cubicBezTo>
                <a:cubicBezTo>
                  <a:pt x="401868" y="321159"/>
                  <a:pt x="143245" y="318942"/>
                  <a:pt x="0" y="334210"/>
                </a:cubicBezTo>
                <a:cubicBezTo>
                  <a:pt x="14956" y="213132"/>
                  <a:pt x="4192" y="145951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Agroalimentario</a:t>
            </a:r>
            <a:endParaRPr lang="es-ES" b="1" u="sng" dirty="0">
              <a:solidFill>
                <a:schemeClr val="tx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37" name="Rectangle 38">
            <a:extLst>
              <a:ext uri="{FF2B5EF4-FFF2-40B4-BE49-F238E27FC236}">
                <a16:creationId xmlns:a16="http://schemas.microsoft.com/office/drawing/2014/main" id="{AD05E1CE-9023-438B-B622-348FF722C9A4}"/>
              </a:ext>
            </a:extLst>
          </p:cNvPr>
          <p:cNvSpPr/>
          <p:nvPr/>
        </p:nvSpPr>
        <p:spPr>
          <a:xfrm>
            <a:off x="9482656" y="3738860"/>
            <a:ext cx="1115654" cy="334210"/>
          </a:xfrm>
          <a:custGeom>
            <a:avLst/>
            <a:gdLst>
              <a:gd name="connsiteX0" fmla="*/ 0 w 1115654"/>
              <a:gd name="connsiteY0" fmla="*/ 0 h 334210"/>
              <a:gd name="connsiteX1" fmla="*/ 546670 w 1115654"/>
              <a:gd name="connsiteY1" fmla="*/ 0 h 334210"/>
              <a:gd name="connsiteX2" fmla="*/ 1115654 w 1115654"/>
              <a:gd name="connsiteY2" fmla="*/ 0 h 334210"/>
              <a:gd name="connsiteX3" fmla="*/ 1115654 w 1115654"/>
              <a:gd name="connsiteY3" fmla="*/ 334210 h 334210"/>
              <a:gd name="connsiteX4" fmla="*/ 568984 w 1115654"/>
              <a:gd name="connsiteY4" fmla="*/ 334210 h 334210"/>
              <a:gd name="connsiteX5" fmla="*/ 0 w 1115654"/>
              <a:gd name="connsiteY5" fmla="*/ 334210 h 334210"/>
              <a:gd name="connsiteX6" fmla="*/ 0 w 1115654"/>
              <a:gd name="connsiteY6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5654" h="334210" extrusionOk="0">
                <a:moveTo>
                  <a:pt x="0" y="0"/>
                </a:moveTo>
                <a:cubicBezTo>
                  <a:pt x="239990" y="18123"/>
                  <a:pt x="399074" y="-10640"/>
                  <a:pt x="546670" y="0"/>
                </a:cubicBezTo>
                <a:cubicBezTo>
                  <a:pt x="694266" y="10640"/>
                  <a:pt x="857492" y="7610"/>
                  <a:pt x="1115654" y="0"/>
                </a:cubicBezTo>
                <a:cubicBezTo>
                  <a:pt x="1100448" y="143626"/>
                  <a:pt x="1115009" y="262906"/>
                  <a:pt x="1115654" y="334210"/>
                </a:cubicBezTo>
                <a:cubicBezTo>
                  <a:pt x="938964" y="354095"/>
                  <a:pt x="680193" y="345077"/>
                  <a:pt x="568984" y="334210"/>
                </a:cubicBezTo>
                <a:cubicBezTo>
                  <a:pt x="457775" y="323344"/>
                  <a:pt x="185496" y="338409"/>
                  <a:pt x="0" y="334210"/>
                </a:cubicBezTo>
                <a:cubicBezTo>
                  <a:pt x="-4195" y="185538"/>
                  <a:pt x="10805" y="94364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Salud</a:t>
            </a:r>
            <a:endParaRPr lang="es-ES" b="1" u="sng" dirty="0">
              <a:solidFill>
                <a:schemeClr val="tx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47" name="Rectangle 38">
            <a:extLst>
              <a:ext uri="{FF2B5EF4-FFF2-40B4-BE49-F238E27FC236}">
                <a16:creationId xmlns:a16="http://schemas.microsoft.com/office/drawing/2014/main" id="{1A0D21A8-FF36-470B-9F94-F978FFB9E6B0}"/>
              </a:ext>
            </a:extLst>
          </p:cNvPr>
          <p:cNvSpPr/>
          <p:nvPr/>
        </p:nvSpPr>
        <p:spPr>
          <a:xfrm>
            <a:off x="1407786" y="5451680"/>
            <a:ext cx="1696349" cy="334210"/>
          </a:xfrm>
          <a:custGeom>
            <a:avLst/>
            <a:gdLst>
              <a:gd name="connsiteX0" fmla="*/ 0 w 1696349"/>
              <a:gd name="connsiteY0" fmla="*/ 0 h 334210"/>
              <a:gd name="connsiteX1" fmla="*/ 548486 w 1696349"/>
              <a:gd name="connsiteY1" fmla="*/ 0 h 334210"/>
              <a:gd name="connsiteX2" fmla="*/ 1130899 w 1696349"/>
              <a:gd name="connsiteY2" fmla="*/ 0 h 334210"/>
              <a:gd name="connsiteX3" fmla="*/ 1696349 w 1696349"/>
              <a:gd name="connsiteY3" fmla="*/ 0 h 334210"/>
              <a:gd name="connsiteX4" fmla="*/ 1696349 w 1696349"/>
              <a:gd name="connsiteY4" fmla="*/ 334210 h 334210"/>
              <a:gd name="connsiteX5" fmla="*/ 1113936 w 1696349"/>
              <a:gd name="connsiteY5" fmla="*/ 334210 h 334210"/>
              <a:gd name="connsiteX6" fmla="*/ 531523 w 1696349"/>
              <a:gd name="connsiteY6" fmla="*/ 334210 h 334210"/>
              <a:gd name="connsiteX7" fmla="*/ 0 w 1696349"/>
              <a:gd name="connsiteY7" fmla="*/ 334210 h 334210"/>
              <a:gd name="connsiteX8" fmla="*/ 0 w 1696349"/>
              <a:gd name="connsiteY8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96349" h="334210" extrusionOk="0">
                <a:moveTo>
                  <a:pt x="0" y="0"/>
                </a:moveTo>
                <a:cubicBezTo>
                  <a:pt x="150226" y="-14508"/>
                  <a:pt x="307142" y="6064"/>
                  <a:pt x="548486" y="0"/>
                </a:cubicBezTo>
                <a:cubicBezTo>
                  <a:pt x="789830" y="-6064"/>
                  <a:pt x="890568" y="-15147"/>
                  <a:pt x="1130899" y="0"/>
                </a:cubicBezTo>
                <a:cubicBezTo>
                  <a:pt x="1371230" y="15147"/>
                  <a:pt x="1484228" y="-14713"/>
                  <a:pt x="1696349" y="0"/>
                </a:cubicBezTo>
                <a:cubicBezTo>
                  <a:pt x="1682493" y="74211"/>
                  <a:pt x="1687202" y="208865"/>
                  <a:pt x="1696349" y="334210"/>
                </a:cubicBezTo>
                <a:cubicBezTo>
                  <a:pt x="1485697" y="313519"/>
                  <a:pt x="1286020" y="349989"/>
                  <a:pt x="1113936" y="334210"/>
                </a:cubicBezTo>
                <a:cubicBezTo>
                  <a:pt x="941852" y="318431"/>
                  <a:pt x="785504" y="347975"/>
                  <a:pt x="531523" y="334210"/>
                </a:cubicBezTo>
                <a:cubicBezTo>
                  <a:pt x="277542" y="320445"/>
                  <a:pt x="149576" y="337516"/>
                  <a:pt x="0" y="334210"/>
                </a:cubicBezTo>
                <a:cubicBezTo>
                  <a:pt x="14956" y="213132"/>
                  <a:pt x="4192" y="145951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Economía Circular</a:t>
            </a:r>
            <a:endParaRPr lang="es-ES" b="1" u="sng" dirty="0">
              <a:solidFill>
                <a:schemeClr val="tx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51" name="Rectangle 38">
            <a:extLst>
              <a:ext uri="{FF2B5EF4-FFF2-40B4-BE49-F238E27FC236}">
                <a16:creationId xmlns:a16="http://schemas.microsoft.com/office/drawing/2014/main" id="{7CA742E1-6E17-4ACB-BF3F-34B1C06DA6A6}"/>
              </a:ext>
            </a:extLst>
          </p:cNvPr>
          <p:cNvSpPr/>
          <p:nvPr/>
        </p:nvSpPr>
        <p:spPr>
          <a:xfrm>
            <a:off x="9321036" y="5374815"/>
            <a:ext cx="1306793" cy="334210"/>
          </a:xfrm>
          <a:custGeom>
            <a:avLst/>
            <a:gdLst>
              <a:gd name="connsiteX0" fmla="*/ 0 w 1306793"/>
              <a:gd name="connsiteY0" fmla="*/ 0 h 334210"/>
              <a:gd name="connsiteX1" fmla="*/ 640329 w 1306793"/>
              <a:gd name="connsiteY1" fmla="*/ 0 h 334210"/>
              <a:gd name="connsiteX2" fmla="*/ 1306793 w 1306793"/>
              <a:gd name="connsiteY2" fmla="*/ 0 h 334210"/>
              <a:gd name="connsiteX3" fmla="*/ 1306793 w 1306793"/>
              <a:gd name="connsiteY3" fmla="*/ 334210 h 334210"/>
              <a:gd name="connsiteX4" fmla="*/ 666464 w 1306793"/>
              <a:gd name="connsiteY4" fmla="*/ 334210 h 334210"/>
              <a:gd name="connsiteX5" fmla="*/ 0 w 1306793"/>
              <a:gd name="connsiteY5" fmla="*/ 334210 h 334210"/>
              <a:gd name="connsiteX6" fmla="*/ 0 w 1306793"/>
              <a:gd name="connsiteY6" fmla="*/ 0 h 334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06793" h="334210" extrusionOk="0">
                <a:moveTo>
                  <a:pt x="0" y="0"/>
                </a:moveTo>
                <a:cubicBezTo>
                  <a:pt x="185061" y="21143"/>
                  <a:pt x="361164" y="-18848"/>
                  <a:pt x="640329" y="0"/>
                </a:cubicBezTo>
                <a:cubicBezTo>
                  <a:pt x="919494" y="18848"/>
                  <a:pt x="1069307" y="-22156"/>
                  <a:pt x="1306793" y="0"/>
                </a:cubicBezTo>
                <a:cubicBezTo>
                  <a:pt x="1291587" y="143626"/>
                  <a:pt x="1306148" y="262906"/>
                  <a:pt x="1306793" y="334210"/>
                </a:cubicBezTo>
                <a:cubicBezTo>
                  <a:pt x="1167194" y="342400"/>
                  <a:pt x="940425" y="312560"/>
                  <a:pt x="666464" y="334210"/>
                </a:cubicBezTo>
                <a:cubicBezTo>
                  <a:pt x="392503" y="355860"/>
                  <a:pt x="212107" y="364598"/>
                  <a:pt x="0" y="334210"/>
                </a:cubicBezTo>
                <a:cubicBezTo>
                  <a:pt x="-4195" y="185538"/>
                  <a:pt x="10805" y="94364"/>
                  <a:pt x="0" y="0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9551808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  <a:effectLst>
            <a:outerShdw blurRad="40000" dist="23000" sx="1000" sy="1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178"/>
            <a:r>
              <a:rPr lang="es-ES" b="1" dirty="0">
                <a:solidFill>
                  <a:schemeClr val="tx1"/>
                </a:solidFill>
                <a:latin typeface="Bradley Hand ITC" panose="03070402050302030203" pitchFamily="66" charset="0"/>
              </a:rPr>
              <a:t>Renovables</a:t>
            </a:r>
            <a:endParaRPr lang="es-ES" b="1" u="sng" dirty="0">
              <a:solidFill>
                <a:schemeClr val="tx1"/>
              </a:solidFill>
              <a:latin typeface="Bradley Hand ITC" panose="03070402050302030203" pitchFamily="66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B2FD75B1-F63D-4803-A01F-87CEB0AAEA3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1706" y="3652949"/>
            <a:ext cx="438150" cy="44767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2F54C7AA-D8B0-48F6-8518-84786C8DBC6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3910" y="5381775"/>
            <a:ext cx="485775" cy="40005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43599D33-B0E6-4B4C-A683-6FBB25526E8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93380" y="5312054"/>
            <a:ext cx="381000" cy="409575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C8D8EEB2-EB26-4803-BA76-83E75C9E7B2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893380" y="3685685"/>
            <a:ext cx="428625" cy="361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164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1 Título">
            <a:extLst>
              <a:ext uri="{FF2B5EF4-FFF2-40B4-BE49-F238E27FC236}">
                <a16:creationId xmlns:a16="http://schemas.microsoft.com/office/drawing/2014/main" id="{4C575E38-DF03-466F-B4C0-ACD48C246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7539" y="-216728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JECUCIÓN DE LA EVR</a:t>
            </a:r>
          </a:p>
        </p:txBody>
      </p:sp>
      <p:cxnSp>
        <p:nvCxnSpPr>
          <p:cNvPr id="30" name="5 Conector recto">
            <a:extLst>
              <a:ext uri="{FF2B5EF4-FFF2-40B4-BE49-F238E27FC236}">
                <a16:creationId xmlns:a16="http://schemas.microsoft.com/office/drawing/2014/main" id="{6A291338-86B6-4A0E-BEE8-A912F6EC9C4A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>
            <a:extLst>
              <a:ext uri="{FF2B5EF4-FFF2-40B4-BE49-F238E27FC236}">
                <a16:creationId xmlns:a16="http://schemas.microsoft.com/office/drawing/2014/main" id="{C4E3F8AD-BF42-4637-9A1D-3E40EB19B5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6DBF669F-CC4C-4B28-A50F-BA6BF8560F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439" y="1115616"/>
            <a:ext cx="5440287" cy="3473020"/>
          </a:xfrm>
          <a:prstGeom prst="rect">
            <a:avLst/>
          </a:prstGeom>
        </p:spPr>
      </p:pic>
      <p:pic>
        <p:nvPicPr>
          <p:cNvPr id="6" name="Imagen 5">
            <a:hlinkClick r:id="rId4"/>
            <a:extLst>
              <a:ext uri="{FF2B5EF4-FFF2-40B4-BE49-F238E27FC236}">
                <a16:creationId xmlns:a16="http://schemas.microsoft.com/office/drawing/2014/main" id="{E228B2F9-5650-4045-AFBF-2B092AD068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01024" y="2166381"/>
            <a:ext cx="4912438" cy="1398847"/>
          </a:xfrm>
          <a:prstGeom prst="rect">
            <a:avLst/>
          </a:prstGeom>
        </p:spPr>
      </p:pic>
      <p:sp>
        <p:nvSpPr>
          <p:cNvPr id="7" name="Subtítulo 2">
            <a:extLst>
              <a:ext uri="{FF2B5EF4-FFF2-40B4-BE49-F238E27FC236}">
                <a16:creationId xmlns:a16="http://schemas.microsoft.com/office/drawing/2014/main" id="{8A723959-851E-4141-88B5-0D880B976320}"/>
              </a:ext>
            </a:extLst>
          </p:cNvPr>
          <p:cNvSpPr txBox="1">
            <a:spLocks/>
          </p:cNvSpPr>
          <p:nvPr/>
        </p:nvSpPr>
        <p:spPr>
          <a:xfrm>
            <a:off x="1394536" y="5731636"/>
            <a:ext cx="10965543" cy="270969"/>
          </a:xfrm>
          <a:prstGeom prst="rect">
            <a:avLst/>
          </a:prstGeom>
        </p:spPr>
        <p:txBody>
          <a:bodyPr/>
          <a:lstStyle>
            <a:lvl1pPr marL="91440" indent="-91440" algn="l" defTabSz="914400" rtl="0" eaLnBrk="1" latinLnBrk="0" hangingPunct="1">
              <a:lnSpc>
                <a:spcPct val="85000"/>
              </a:lnSpc>
              <a:spcBef>
                <a:spcPts val="1300"/>
              </a:spcBef>
              <a:buFont typeface="Arial" pitchFamily="34" charset="0"/>
              <a:buChar char=" "/>
              <a:defRPr sz="2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7472" indent="-34290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2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8640" indent="-54864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2000" i="1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22960" indent="-82296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97280" indent="-109728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200000" indent="-22860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400000" indent="-22860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600000" indent="-22860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800000" indent="-22860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3600" dirty="0"/>
              <a:t>Las Universidades han tenido un papel fundamental</a:t>
            </a:r>
          </a:p>
        </p:txBody>
      </p:sp>
    </p:spTree>
    <p:extLst>
      <p:ext uri="{BB962C8B-B14F-4D97-AF65-F5344CB8AC3E}">
        <p14:creationId xmlns:p14="http://schemas.microsoft.com/office/powerpoint/2010/main" val="6532305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9FC847C3-627B-4D57-AF6F-840825B9B2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31576" y="694733"/>
            <a:ext cx="7528848" cy="1922259"/>
          </a:xfrm>
          <a:prstGeom prst="rect">
            <a:avLst/>
          </a:prstGeom>
        </p:spPr>
      </p:pic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Diapositiva de think-cell" r:id="rId7" imgW="396" imgH="396" progId="TCLayout.ActiveDocument.1">
                  <p:embed/>
                </p:oleObj>
              </mc:Choice>
              <mc:Fallback>
                <p:oleObj name="Diapositiva de think-cell" r:id="rId7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s-ES" sz="2400" dirty="0">
              <a:solidFill>
                <a:srgbClr val="FFFFFF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7870704B-CE94-48CC-AF30-84932A1262A7}" type="slidenum">
              <a:rPr lang="es-ES_tradnl" sz="700">
                <a:solidFill>
                  <a:srgbClr val="000000"/>
                </a:solidFill>
                <a:latin typeface="Arial"/>
              </a:rPr>
              <a:pPr defTabSz="914377">
                <a:defRPr/>
              </a:pPr>
              <a:t>17</a:t>
            </a:fld>
            <a:endParaRPr lang="es-ES_tradnl" sz="7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DB293D2-7924-4077-94D7-D673005984D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92127" y="1956127"/>
            <a:ext cx="1897879" cy="3813662"/>
          </a:xfrm>
          <a:prstGeom prst="rect">
            <a:avLst/>
          </a:prstGeom>
        </p:spPr>
      </p:pic>
      <p:sp>
        <p:nvSpPr>
          <p:cNvPr id="20" name="1 Título">
            <a:extLst>
              <a:ext uri="{FF2B5EF4-FFF2-40B4-BE49-F238E27FC236}">
                <a16:creationId xmlns:a16="http://schemas.microsoft.com/office/drawing/2014/main" id="{0D32B9A0-EAA1-48CE-AFF6-B39CC72A64BB}"/>
              </a:ext>
            </a:extLst>
          </p:cNvPr>
          <p:cNvSpPr txBox="1">
            <a:spLocks/>
          </p:cNvSpPr>
          <p:nvPr/>
        </p:nvSpPr>
        <p:spPr>
          <a:xfrm>
            <a:off x="758945" y="-294619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LANES COMPLEMENTARIOS</a:t>
            </a:r>
          </a:p>
        </p:txBody>
      </p:sp>
      <p:pic>
        <p:nvPicPr>
          <p:cNvPr id="22" name="Picture 2">
            <a:extLst>
              <a:ext uri="{FF2B5EF4-FFF2-40B4-BE49-F238E27FC236}">
                <a16:creationId xmlns:a16="http://schemas.microsoft.com/office/drawing/2014/main" id="{326BE46E-07FD-459A-AB47-C00898E408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0789AFB0-1E72-41D3-B641-A8212AE75FC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94885" y="2517920"/>
            <a:ext cx="6933724" cy="4755531"/>
          </a:xfrm>
          <a:prstGeom prst="rect">
            <a:avLst/>
          </a:prstGeom>
        </p:spPr>
      </p:pic>
      <p:pic>
        <p:nvPicPr>
          <p:cNvPr id="34" name="Imagen 33">
            <a:extLst>
              <a:ext uri="{FF2B5EF4-FFF2-40B4-BE49-F238E27FC236}">
                <a16:creationId xmlns:a16="http://schemas.microsoft.com/office/drawing/2014/main" id="{B0BAE805-E167-428C-A615-843F2016B6F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24333" y="2463344"/>
            <a:ext cx="2082510" cy="1922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4920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9" name="9 Conector recto">
            <a:extLst>
              <a:ext uri="{FF2B5EF4-FFF2-40B4-BE49-F238E27FC236}">
                <a16:creationId xmlns:a16="http://schemas.microsoft.com/office/drawing/2014/main" id="{28AC44F1-DC2B-4CB8-8B10-DA4CC8A0B8AC}"/>
              </a:ext>
            </a:extLst>
          </p:cNvPr>
          <p:cNvCxnSpPr>
            <a:cxnSpLocks/>
          </p:cNvCxnSpPr>
          <p:nvPr/>
        </p:nvCxnSpPr>
        <p:spPr>
          <a:xfrm>
            <a:off x="8219090" y="644691"/>
            <a:ext cx="37335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AD83E010-FF84-4087-8344-1474E6C196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99228" y="0"/>
            <a:ext cx="1292772" cy="1049123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F9E0F6CF-C09B-4324-8DDF-E04EA17F6128}"/>
              </a:ext>
            </a:extLst>
          </p:cNvPr>
          <p:cNvSpPr txBox="1"/>
          <p:nvPr/>
        </p:nvSpPr>
        <p:spPr>
          <a:xfrm>
            <a:off x="848836" y="1049123"/>
            <a:ext cx="10050391" cy="19159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07000"/>
              </a:lnSpc>
              <a:buFont typeface="Wingdings" panose="05000000000000000000" pitchFamily="2" charset="2"/>
              <a:buChar char=""/>
            </a:pPr>
            <a:r>
              <a:rPr lang="es-ES" sz="2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iencias marinas.</a:t>
            </a:r>
            <a:endParaRPr lang="es-ES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buFont typeface="Wingdings" panose="05000000000000000000" pitchFamily="2" charset="2"/>
              <a:buChar char=""/>
            </a:pPr>
            <a:r>
              <a:rPr lang="es-ES" sz="2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roalimentación.</a:t>
            </a:r>
            <a:endParaRPr lang="es-ES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buFont typeface="Wingdings" panose="05000000000000000000" pitchFamily="2" charset="2"/>
              <a:buChar char=""/>
            </a:pPr>
            <a:r>
              <a:rPr lang="es-ES" sz="2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trofísica y física de altas energías.</a:t>
            </a:r>
            <a:endParaRPr lang="es-ES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"/>
            </a:pPr>
            <a:r>
              <a:rPr lang="es-ES" sz="2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teriales avanzados.</a:t>
            </a:r>
            <a:endParaRPr lang="es-ES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359C66D2-983F-40B8-864C-250A9BA5F30C}"/>
              </a:ext>
            </a:extLst>
          </p:cNvPr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539" y="3262117"/>
            <a:ext cx="3239770" cy="1547495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D4CCA6AB-0F88-4BDA-8A46-56C71021CC5C}"/>
              </a:ext>
            </a:extLst>
          </p:cNvPr>
          <p:cNvPicPr/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237" y="3247511"/>
            <a:ext cx="3239770" cy="1576705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22162D54-0882-41C7-B2BB-3EB9DAF5FE46}"/>
              </a:ext>
            </a:extLst>
          </p:cNvPr>
          <p:cNvSpPr txBox="1"/>
          <p:nvPr/>
        </p:nvSpPr>
        <p:spPr>
          <a:xfrm>
            <a:off x="304800" y="5098096"/>
            <a:ext cx="1164785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dirty="0"/>
              <a:t>El presupuesto total de los programas de estas cuatro áreas ascenderá a unos 188 M€, de los cuales 22 M€ corresponderán a la Comunidad Valenciana, que a su vez cofinanciará los programas con 12,7 M€. </a:t>
            </a:r>
          </a:p>
          <a:p>
            <a:endParaRPr lang="es-ES" sz="2000" dirty="0"/>
          </a:p>
          <a:p>
            <a:r>
              <a:rPr lang="es-ES" sz="2000" dirty="0"/>
              <a:t>Por tanto, la Comunidad Valenciana participará en estas cuatro áreas con un presupuesto total de unos 35,0 M€</a:t>
            </a:r>
            <a:r>
              <a:rPr lang="es-ES" dirty="0"/>
              <a:t>.</a:t>
            </a:r>
          </a:p>
        </p:txBody>
      </p:sp>
      <p:sp>
        <p:nvSpPr>
          <p:cNvPr id="15" name="1 Título">
            <a:extLst>
              <a:ext uri="{FF2B5EF4-FFF2-40B4-BE49-F238E27FC236}">
                <a16:creationId xmlns:a16="http://schemas.microsoft.com/office/drawing/2014/main" id="{0EAE046D-7982-4B6F-B025-54128A969F50}"/>
              </a:ext>
            </a:extLst>
          </p:cNvPr>
          <p:cNvSpPr txBox="1">
            <a:spLocks/>
          </p:cNvSpPr>
          <p:nvPr/>
        </p:nvSpPr>
        <p:spPr>
          <a:xfrm>
            <a:off x="758945" y="-294619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LANES COMPLEMENTARIOS </a:t>
            </a:r>
            <a:r>
              <a:rPr lang="es-ES" sz="2667" spc="-12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munitat</a:t>
            </a: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Valenciana</a:t>
            </a:r>
          </a:p>
        </p:txBody>
      </p:sp>
    </p:spTree>
    <p:extLst>
      <p:ext uri="{BB962C8B-B14F-4D97-AF65-F5344CB8AC3E}">
        <p14:creationId xmlns:p14="http://schemas.microsoft.com/office/powerpoint/2010/main" val="38036917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3">
            <a:extLst>
              <a:ext uri="{FF2B5EF4-FFF2-40B4-BE49-F238E27FC236}">
                <a16:creationId xmlns:a16="http://schemas.microsoft.com/office/drawing/2014/main" id="{2D3A3BAE-51DA-42C2-BE91-EB1EECA24F5F}"/>
              </a:ext>
            </a:extLst>
          </p:cNvPr>
          <p:cNvSpPr txBox="1"/>
          <p:nvPr/>
        </p:nvSpPr>
        <p:spPr>
          <a:xfrm>
            <a:off x="403766" y="1857605"/>
            <a:ext cx="11264358" cy="138499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0" tIns="0" rIns="0" bIns="0" rtlCol="0" anchor="t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000" dirty="0">
                <a:cs typeface="Arial"/>
              </a:rPr>
              <a:t>Los organismos que ya trabajan con las PYMES se van a ver reforzados: IVACE, ENISA, CERSA, …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000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000" dirty="0">
                <a:cs typeface="Arial"/>
              </a:rPr>
              <a:t>Las iniciativas dirigidas a PYMES van a recibir muchos más recursos: </a:t>
            </a:r>
            <a:r>
              <a:rPr lang="es-ES" sz="2000" dirty="0" err="1">
                <a:cs typeface="Arial"/>
              </a:rPr>
              <a:t>Reindux</a:t>
            </a:r>
            <a:r>
              <a:rPr lang="es-ES" sz="2000" dirty="0">
                <a:cs typeface="Arial"/>
              </a:rPr>
              <a:t>, Fondo de apoyo a la inversión industrial, …</a:t>
            </a: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848837" y="-217357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50" spc="-120" dirty="0">
                <a:solidFill>
                  <a:schemeClr val="bg1"/>
                </a:solidFill>
                <a:latin typeface="Roboto"/>
                <a:ea typeface="Roboto" panose="02000000000000000000" pitchFamily="2" charset="0"/>
              </a:rPr>
              <a:t>Y LAS PYMES</a:t>
            </a:r>
            <a:endParaRPr lang="es-ES" sz="2650" spc="-12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49" name="9 Conector recto">
            <a:extLst>
              <a:ext uri="{FF2B5EF4-FFF2-40B4-BE49-F238E27FC236}">
                <a16:creationId xmlns:a16="http://schemas.microsoft.com/office/drawing/2014/main" id="{28AC44F1-DC2B-4CB8-8B10-DA4CC8A0B8AC}"/>
              </a:ext>
            </a:extLst>
          </p:cNvPr>
          <p:cNvCxnSpPr>
            <a:cxnSpLocks/>
          </p:cNvCxnSpPr>
          <p:nvPr/>
        </p:nvCxnSpPr>
        <p:spPr>
          <a:xfrm>
            <a:off x="8219090" y="644691"/>
            <a:ext cx="37335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D0A66CED-EF8F-4039-A500-ECA19F8C274F}"/>
              </a:ext>
            </a:extLst>
          </p:cNvPr>
          <p:cNvSpPr txBox="1"/>
          <p:nvPr/>
        </p:nvSpPr>
        <p:spPr>
          <a:xfrm>
            <a:off x="289169" y="1080477"/>
            <a:ext cx="11027506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s-ES" sz="2400" b="1" dirty="0">
                <a:solidFill>
                  <a:schemeClr val="tx2"/>
                </a:solidFill>
              </a:rPr>
              <a:t>Ya son las principales beneficiaras de las ayudas del Ministerio y de la GVA pero, además: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19B60C1-ADAE-4158-ADA7-601F7292FC0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63699" y="2986051"/>
            <a:ext cx="6840357" cy="3227245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C82562F3-48AE-43FA-864B-137FDB80A0F1}"/>
              </a:ext>
            </a:extLst>
          </p:cNvPr>
          <p:cNvSpPr/>
          <p:nvPr/>
        </p:nvSpPr>
        <p:spPr>
          <a:xfrm>
            <a:off x="289169" y="3127698"/>
            <a:ext cx="5252648" cy="2970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cs typeface="Arial"/>
              </a:rPr>
              <a:t>En las MDI de industria se pedía una presencia mínima de un 40% de PYMES en los consorcios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cs typeface="Arial"/>
              </a:rPr>
              <a:t>Se van a reforzar las líneas de apoyo a </a:t>
            </a:r>
            <a:r>
              <a:rPr lang="es-ES" dirty="0" err="1">
                <a:cs typeface="Arial"/>
              </a:rPr>
              <a:t>clusters</a:t>
            </a:r>
            <a:r>
              <a:rPr lang="es-ES" dirty="0">
                <a:cs typeface="Arial"/>
              </a:rPr>
              <a:t>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dirty="0">
                <a:cs typeface="Arial"/>
              </a:rPr>
              <a:t>Se va a apoyar la digitalización de PYMES a través de instrumentos como los Digital </a:t>
            </a:r>
            <a:r>
              <a:rPr lang="es-ES" dirty="0" err="1">
                <a:cs typeface="Arial"/>
              </a:rPr>
              <a:t>Innovation</a:t>
            </a:r>
            <a:r>
              <a:rPr lang="es-ES" dirty="0">
                <a:cs typeface="Arial"/>
              </a:rPr>
              <a:t> </a:t>
            </a:r>
            <a:r>
              <a:rPr lang="es-ES" dirty="0" err="1">
                <a:cs typeface="Arial"/>
              </a:rPr>
              <a:t>Hubs</a:t>
            </a:r>
            <a:r>
              <a:rPr lang="es-ES" dirty="0">
                <a:cs typeface="Arial"/>
              </a:rPr>
              <a:t> y “Cheques Digitalización”.</a:t>
            </a:r>
          </a:p>
        </p:txBody>
      </p:sp>
    </p:spTree>
    <p:extLst>
      <p:ext uri="{BB962C8B-B14F-4D97-AF65-F5344CB8AC3E}">
        <p14:creationId xmlns:p14="http://schemas.microsoft.com/office/powerpoint/2010/main" val="25539201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1 Título">
            <a:extLst>
              <a:ext uri="{FF2B5EF4-FFF2-40B4-BE49-F238E27FC236}">
                <a16:creationId xmlns:a16="http://schemas.microsoft.com/office/drawing/2014/main" id="{45228A94-7F9D-4A1F-8401-5DE104E7F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0026" y="-160685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BJETIVOS NEXT GENERATION EU</a:t>
            </a:r>
          </a:p>
        </p:txBody>
      </p:sp>
      <p:cxnSp>
        <p:nvCxnSpPr>
          <p:cNvPr id="36" name="5 Conector recto">
            <a:extLst>
              <a:ext uri="{FF2B5EF4-FFF2-40B4-BE49-F238E27FC236}">
                <a16:creationId xmlns:a16="http://schemas.microsoft.com/office/drawing/2014/main" id="{32711210-DDE0-4A1E-A847-239186E6F757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2">
            <a:extLst>
              <a:ext uri="{FF2B5EF4-FFF2-40B4-BE49-F238E27FC236}">
                <a16:creationId xmlns:a16="http://schemas.microsoft.com/office/drawing/2014/main" id="{BB2566EE-FA82-4EB9-B479-E3EC4631A2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53011EE8-1287-4BE7-A2C5-10CADE469E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2599" y="744592"/>
            <a:ext cx="9140045" cy="6113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4864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848837" y="-217357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50" spc="-120" dirty="0">
                <a:solidFill>
                  <a:schemeClr val="bg1"/>
                </a:solidFill>
                <a:latin typeface="Roboto"/>
                <a:ea typeface="Roboto" panose="02000000000000000000" pitchFamily="2" charset="0"/>
              </a:rPr>
              <a:t>¿DÓNDE ESTAMOS AHORA? Primeras confirmaciones</a:t>
            </a:r>
            <a:endParaRPr lang="es-ES" sz="2650" spc="-12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49" name="9 Conector recto">
            <a:extLst>
              <a:ext uri="{FF2B5EF4-FFF2-40B4-BE49-F238E27FC236}">
                <a16:creationId xmlns:a16="http://schemas.microsoft.com/office/drawing/2014/main" id="{28AC44F1-DC2B-4CB8-8B10-DA4CC8A0B8AC}"/>
              </a:ext>
            </a:extLst>
          </p:cNvPr>
          <p:cNvCxnSpPr>
            <a:cxnSpLocks/>
          </p:cNvCxnSpPr>
          <p:nvPr/>
        </p:nvCxnSpPr>
        <p:spPr>
          <a:xfrm>
            <a:off x="8219090" y="644691"/>
            <a:ext cx="37335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AD83E010-FF84-4087-8344-1474E6C196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99228" y="0"/>
            <a:ext cx="1292772" cy="1049123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1F2B7A1B-6466-47A1-9CAB-D4ABE59C0C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6025" y="712606"/>
            <a:ext cx="9307600" cy="5611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5264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7" name="Group 216">
            <a:extLst>
              <a:ext uri="{FF2B5EF4-FFF2-40B4-BE49-F238E27FC236}">
                <a16:creationId xmlns:a16="http://schemas.microsoft.com/office/drawing/2014/main" id="{C439D0DA-DF35-4DFE-B772-97EF73127A3B}"/>
              </a:ext>
            </a:extLst>
          </p:cNvPr>
          <p:cNvGrpSpPr/>
          <p:nvPr/>
        </p:nvGrpSpPr>
        <p:grpSpPr>
          <a:xfrm>
            <a:off x="-1016836" y="-1274356"/>
            <a:ext cx="5485271" cy="6123227"/>
            <a:chOff x="-1343478" y="-1394857"/>
            <a:chExt cx="5485270" cy="6123226"/>
          </a:xfrm>
          <a:solidFill>
            <a:schemeClr val="bg1">
              <a:lumMod val="85000"/>
            </a:schemeClr>
          </a:solidFill>
        </p:grpSpPr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FE083507-31CF-487A-996C-643CD8FA125E}"/>
                </a:ext>
              </a:extLst>
            </p:cNvPr>
            <p:cNvGrpSpPr/>
            <p:nvPr/>
          </p:nvGrpSpPr>
          <p:grpSpPr>
            <a:xfrm rot="12597560" flipH="1">
              <a:off x="-1343478" y="-360857"/>
              <a:ext cx="5485270" cy="4256452"/>
              <a:chOff x="2438400" y="1005871"/>
              <a:chExt cx="6414912" cy="4977834"/>
            </a:xfrm>
            <a:grpFill/>
          </p:grpSpPr>
          <p:cxnSp>
            <p:nvCxnSpPr>
              <p:cNvPr id="229" name="Straight Connector 228">
                <a:extLst>
                  <a:ext uri="{FF2B5EF4-FFF2-40B4-BE49-F238E27FC236}">
                    <a16:creationId xmlns:a16="http://schemas.microsoft.com/office/drawing/2014/main" id="{D0696DCC-9EC8-44EF-952C-0DD7A98196A1}"/>
                  </a:ext>
                </a:extLst>
              </p:cNvPr>
              <p:cNvCxnSpPr/>
              <p:nvPr/>
            </p:nvCxnSpPr>
            <p:spPr>
              <a:xfrm flipV="1">
                <a:off x="2614864" y="3850105"/>
                <a:ext cx="1411705" cy="2133600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6A806769-7C93-42D7-A4CC-D476E925AAC5}"/>
                  </a:ext>
                </a:extLst>
              </p:cNvPr>
              <p:cNvCxnSpPr/>
              <p:nvPr/>
            </p:nvCxnSpPr>
            <p:spPr>
              <a:xfrm>
                <a:off x="4026569" y="3866147"/>
                <a:ext cx="1267327" cy="882316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EE5CEC33-7D63-43D4-94EE-DE6E7DA14F71}"/>
                  </a:ext>
                </a:extLst>
              </p:cNvPr>
              <p:cNvCxnSpPr/>
              <p:nvPr/>
            </p:nvCxnSpPr>
            <p:spPr>
              <a:xfrm flipH="1">
                <a:off x="2614864" y="4780546"/>
                <a:ext cx="2662990" cy="1199465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2" name="Straight Connector 231">
                <a:extLst>
                  <a:ext uri="{FF2B5EF4-FFF2-40B4-BE49-F238E27FC236}">
                    <a16:creationId xmlns:a16="http://schemas.microsoft.com/office/drawing/2014/main" id="{8110B1A7-4010-4D65-8414-96F9E00D2D92}"/>
                  </a:ext>
                </a:extLst>
              </p:cNvPr>
              <p:cNvCxnSpPr/>
              <p:nvPr/>
            </p:nvCxnSpPr>
            <p:spPr>
              <a:xfrm>
                <a:off x="2470486" y="3850104"/>
                <a:ext cx="2823411" cy="914400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3" name="Straight Connector 232">
                <a:extLst>
                  <a:ext uri="{FF2B5EF4-FFF2-40B4-BE49-F238E27FC236}">
                    <a16:creationId xmlns:a16="http://schemas.microsoft.com/office/drawing/2014/main" id="{7967ED78-E6FA-4222-8798-2C68DF418188}"/>
                  </a:ext>
                </a:extLst>
              </p:cNvPr>
              <p:cNvCxnSpPr/>
              <p:nvPr/>
            </p:nvCxnSpPr>
            <p:spPr>
              <a:xfrm flipV="1">
                <a:off x="2438400" y="2823411"/>
                <a:ext cx="3834063" cy="1026694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4" name="Straight Connector 233">
                <a:extLst>
                  <a:ext uri="{FF2B5EF4-FFF2-40B4-BE49-F238E27FC236}">
                    <a16:creationId xmlns:a16="http://schemas.microsoft.com/office/drawing/2014/main" id="{8924A1EB-571C-41CD-A142-DC188FEB255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660231" y="2180695"/>
                <a:ext cx="1666449" cy="649161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5" name="Straight Connector 234">
                <a:extLst>
                  <a:ext uri="{FF2B5EF4-FFF2-40B4-BE49-F238E27FC236}">
                    <a16:creationId xmlns:a16="http://schemas.microsoft.com/office/drawing/2014/main" id="{8EE0EB1C-6409-45BD-B351-A4212B59B8E2}"/>
                  </a:ext>
                </a:extLst>
              </p:cNvPr>
              <p:cNvCxnSpPr/>
              <p:nvPr/>
            </p:nvCxnSpPr>
            <p:spPr>
              <a:xfrm flipH="1">
                <a:off x="4026568" y="2130451"/>
                <a:ext cx="633663" cy="1732003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6" name="Straight Connector 235">
                <a:extLst>
                  <a:ext uri="{FF2B5EF4-FFF2-40B4-BE49-F238E27FC236}">
                    <a16:creationId xmlns:a16="http://schemas.microsoft.com/office/drawing/2014/main" id="{83F2B58E-FA84-4EA9-AE03-A57F1412D6F1}"/>
                  </a:ext>
                </a:extLst>
              </p:cNvPr>
              <p:cNvCxnSpPr/>
              <p:nvPr/>
            </p:nvCxnSpPr>
            <p:spPr>
              <a:xfrm>
                <a:off x="4058654" y="3900351"/>
                <a:ext cx="3547859" cy="1029176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7" name="Straight Connector 236">
                <a:extLst>
                  <a:ext uri="{FF2B5EF4-FFF2-40B4-BE49-F238E27FC236}">
                    <a16:creationId xmlns:a16="http://schemas.microsoft.com/office/drawing/2014/main" id="{B737208B-C7C6-4A4B-9830-D463364AEB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93895" y="4752158"/>
                <a:ext cx="2423967" cy="206942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8" name="Straight Connector 237">
                <a:extLst>
                  <a:ext uri="{FF2B5EF4-FFF2-40B4-BE49-F238E27FC236}">
                    <a16:creationId xmlns:a16="http://schemas.microsoft.com/office/drawing/2014/main" id="{CBC56AFD-F2C8-4C2F-A89F-E8AF09A91EA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720417" y="2374233"/>
                <a:ext cx="1107852" cy="2518579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39" name="Straight Connector 238">
                <a:extLst>
                  <a:ext uri="{FF2B5EF4-FFF2-40B4-BE49-F238E27FC236}">
                    <a16:creationId xmlns:a16="http://schemas.microsoft.com/office/drawing/2014/main" id="{91FF702E-EB1D-49AD-A8DC-6E2D652F3602}"/>
                  </a:ext>
                </a:extLst>
              </p:cNvPr>
              <p:cNvCxnSpPr/>
              <p:nvPr/>
            </p:nvCxnSpPr>
            <p:spPr>
              <a:xfrm flipH="1">
                <a:off x="5277856" y="2374234"/>
                <a:ext cx="3547859" cy="2406316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0" name="Straight Connector 239">
                <a:extLst>
                  <a:ext uri="{FF2B5EF4-FFF2-40B4-BE49-F238E27FC236}">
                    <a16:creationId xmlns:a16="http://schemas.microsoft.com/office/drawing/2014/main" id="{F160A225-F946-4666-8FCE-9E1B076B3B09}"/>
                  </a:ext>
                </a:extLst>
              </p:cNvPr>
              <p:cNvCxnSpPr/>
              <p:nvPr/>
            </p:nvCxnSpPr>
            <p:spPr>
              <a:xfrm flipH="1" flipV="1">
                <a:off x="6248402" y="2823413"/>
                <a:ext cx="1435769" cy="2119645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1" name="Straight Connector 240">
                <a:extLst>
                  <a:ext uri="{FF2B5EF4-FFF2-40B4-BE49-F238E27FC236}">
                    <a16:creationId xmlns:a16="http://schemas.microsoft.com/office/drawing/2014/main" id="{B432D6C4-B60D-4C19-A454-D56175817DE1}"/>
                  </a:ext>
                </a:extLst>
              </p:cNvPr>
              <p:cNvCxnSpPr/>
              <p:nvPr/>
            </p:nvCxnSpPr>
            <p:spPr>
              <a:xfrm flipV="1">
                <a:off x="6302617" y="2374233"/>
                <a:ext cx="2550695" cy="449179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2" name="Straight Connector 241">
                <a:extLst>
                  <a:ext uri="{FF2B5EF4-FFF2-40B4-BE49-F238E27FC236}">
                    <a16:creationId xmlns:a16="http://schemas.microsoft.com/office/drawing/2014/main" id="{85832FC6-9D94-4FB5-91CB-4DED11F71C32}"/>
                  </a:ext>
                </a:extLst>
              </p:cNvPr>
              <p:cNvCxnSpPr/>
              <p:nvPr/>
            </p:nvCxnSpPr>
            <p:spPr>
              <a:xfrm flipV="1">
                <a:off x="4660231" y="1005871"/>
                <a:ext cx="1238497" cy="1124581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3" name="Straight Connector 242">
                <a:extLst>
                  <a:ext uri="{FF2B5EF4-FFF2-40B4-BE49-F238E27FC236}">
                    <a16:creationId xmlns:a16="http://schemas.microsoft.com/office/drawing/2014/main" id="{93C6A456-C89F-42A2-BBCE-40D54ED24AC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89382" y="1005872"/>
                <a:ext cx="399120" cy="1858616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4" name="Straight Connector 243">
                <a:extLst>
                  <a:ext uri="{FF2B5EF4-FFF2-40B4-BE49-F238E27FC236}">
                    <a16:creationId xmlns:a16="http://schemas.microsoft.com/office/drawing/2014/main" id="{0951B639-D420-46A2-8F9D-987F298F7D90}"/>
                  </a:ext>
                </a:extLst>
              </p:cNvPr>
              <p:cNvCxnSpPr/>
              <p:nvPr/>
            </p:nvCxnSpPr>
            <p:spPr>
              <a:xfrm flipH="1">
                <a:off x="5250253" y="2914731"/>
                <a:ext cx="995592" cy="1898902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45" name="Straight Connector 244">
                <a:extLst>
                  <a:ext uri="{FF2B5EF4-FFF2-40B4-BE49-F238E27FC236}">
                    <a16:creationId xmlns:a16="http://schemas.microsoft.com/office/drawing/2014/main" id="{BA860363-48AB-4799-A0F1-6D472CF3A9A3}"/>
                  </a:ext>
                </a:extLst>
              </p:cNvPr>
              <p:cNvCxnSpPr/>
              <p:nvPr/>
            </p:nvCxnSpPr>
            <p:spPr>
              <a:xfrm>
                <a:off x="4644190" y="2164653"/>
                <a:ext cx="621140" cy="2671436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19" name="Group 218">
              <a:extLst>
                <a:ext uri="{FF2B5EF4-FFF2-40B4-BE49-F238E27FC236}">
                  <a16:creationId xmlns:a16="http://schemas.microsoft.com/office/drawing/2014/main" id="{D2F8AD60-C1F7-4B15-BA23-CAF191FFD324}"/>
                </a:ext>
              </a:extLst>
            </p:cNvPr>
            <p:cNvGrpSpPr/>
            <p:nvPr/>
          </p:nvGrpSpPr>
          <p:grpSpPr>
            <a:xfrm rot="13901237">
              <a:off x="-1795509" y="-216746"/>
              <a:ext cx="6123226" cy="3767003"/>
              <a:chOff x="7062846" y="3526301"/>
              <a:chExt cx="5305580" cy="3263988"/>
            </a:xfrm>
            <a:grpFill/>
          </p:grpSpPr>
          <p:sp>
            <p:nvSpPr>
              <p:cNvPr id="220" name="Oval 219">
                <a:extLst>
                  <a:ext uri="{FF2B5EF4-FFF2-40B4-BE49-F238E27FC236}">
                    <a16:creationId xmlns:a16="http://schemas.microsoft.com/office/drawing/2014/main" id="{3E4F5449-63D3-4190-B324-EDE94D0382A6}"/>
                  </a:ext>
                </a:extLst>
              </p:cNvPr>
              <p:cNvSpPr/>
              <p:nvPr/>
            </p:nvSpPr>
            <p:spPr>
              <a:xfrm rot="20296323" flipH="1">
                <a:off x="8662849" y="3526301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35D4D389-3320-4CC1-A09D-A0350DB8D93D}"/>
                  </a:ext>
                </a:extLst>
              </p:cNvPr>
              <p:cNvSpPr/>
              <p:nvPr/>
            </p:nvSpPr>
            <p:spPr>
              <a:xfrm rot="20296323" flipH="1">
                <a:off x="8860284" y="4838570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22" name="Oval 221">
                <a:extLst>
                  <a:ext uri="{FF2B5EF4-FFF2-40B4-BE49-F238E27FC236}">
                    <a16:creationId xmlns:a16="http://schemas.microsoft.com/office/drawing/2014/main" id="{DBD4ACE6-0E82-4BE1-B9BB-A427F09A289E}"/>
                  </a:ext>
                </a:extLst>
              </p:cNvPr>
              <p:cNvSpPr/>
              <p:nvPr/>
            </p:nvSpPr>
            <p:spPr>
              <a:xfrm rot="20296323" flipH="1">
                <a:off x="7062846" y="5227707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52C0478F-4780-46CF-A15F-5243BFEF651A}"/>
                  </a:ext>
                </a:extLst>
              </p:cNvPr>
              <p:cNvSpPr/>
              <p:nvPr/>
            </p:nvSpPr>
            <p:spPr>
              <a:xfrm rot="20296323" flipH="1">
                <a:off x="8518918" y="6640896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1CF09489-30AE-4676-801C-B9A0633E4C85}"/>
                  </a:ext>
                </a:extLst>
              </p:cNvPr>
              <p:cNvSpPr/>
              <p:nvPr/>
            </p:nvSpPr>
            <p:spPr>
              <a:xfrm rot="20296323" flipH="1">
                <a:off x="10079178" y="5906810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25" name="Oval 224">
                <a:extLst>
                  <a:ext uri="{FF2B5EF4-FFF2-40B4-BE49-F238E27FC236}">
                    <a16:creationId xmlns:a16="http://schemas.microsoft.com/office/drawing/2014/main" id="{9F2414C0-27EE-461C-8996-0A5317B90512}"/>
                  </a:ext>
                </a:extLst>
              </p:cNvPr>
              <p:cNvSpPr/>
              <p:nvPr/>
            </p:nvSpPr>
            <p:spPr>
              <a:xfrm rot="20296323" flipH="1">
                <a:off x="10683602" y="4962941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0C8ED0E4-27DF-4DA5-98A1-76800765735D}"/>
                  </a:ext>
                </a:extLst>
              </p:cNvPr>
              <p:cNvSpPr/>
              <p:nvPr/>
            </p:nvSpPr>
            <p:spPr>
              <a:xfrm rot="20296323" flipH="1">
                <a:off x="12219033" y="5992906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B9C20BF1-82AE-4175-8108-4202BE54F0A1}"/>
                  </a:ext>
                </a:extLst>
              </p:cNvPr>
              <p:cNvSpPr/>
              <p:nvPr/>
            </p:nvSpPr>
            <p:spPr>
              <a:xfrm rot="20296323" flipH="1">
                <a:off x="11731603" y="4518872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28" name="Oval 227">
                <a:extLst>
                  <a:ext uri="{FF2B5EF4-FFF2-40B4-BE49-F238E27FC236}">
                    <a16:creationId xmlns:a16="http://schemas.microsoft.com/office/drawing/2014/main" id="{5951BA1D-CD66-4DDF-9330-099CD7CD455A}"/>
                  </a:ext>
                </a:extLst>
              </p:cNvPr>
              <p:cNvSpPr/>
              <p:nvPr/>
            </p:nvSpPr>
            <p:spPr>
              <a:xfrm rot="20296323" flipH="1">
                <a:off x="9833315" y="3958950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</p:grpSp>
      </p:grp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6CFBC01D-FB0A-412B-96A2-C804F5F9BBA0}"/>
              </a:ext>
            </a:extLst>
          </p:cNvPr>
          <p:cNvGrpSpPr/>
          <p:nvPr/>
        </p:nvGrpSpPr>
        <p:grpSpPr>
          <a:xfrm rot="17606459">
            <a:off x="8919345" y="3184654"/>
            <a:ext cx="4268775" cy="3430201"/>
            <a:chOff x="5706071" y="2645717"/>
            <a:chExt cx="6894460" cy="4792561"/>
          </a:xfrm>
          <a:solidFill>
            <a:schemeClr val="bg1">
              <a:lumMod val="85000"/>
            </a:schemeClr>
          </a:solidFill>
        </p:grpSpPr>
        <p:grpSp>
          <p:nvGrpSpPr>
            <p:cNvPr id="247" name="Group 246">
              <a:extLst>
                <a:ext uri="{FF2B5EF4-FFF2-40B4-BE49-F238E27FC236}">
                  <a16:creationId xmlns:a16="http://schemas.microsoft.com/office/drawing/2014/main" id="{447196F8-D76B-4837-A562-4011AFA46E13}"/>
                </a:ext>
              </a:extLst>
            </p:cNvPr>
            <p:cNvGrpSpPr/>
            <p:nvPr/>
          </p:nvGrpSpPr>
          <p:grpSpPr>
            <a:xfrm rot="20296323" flipH="1">
              <a:off x="5883460" y="2645717"/>
              <a:ext cx="6176152" cy="4792561"/>
              <a:chOff x="2438400" y="1005871"/>
              <a:chExt cx="6414912" cy="4977833"/>
            </a:xfrm>
            <a:grpFill/>
          </p:grpSpPr>
          <p:cxnSp>
            <p:nvCxnSpPr>
              <p:cNvPr id="258" name="Straight Connector 257">
                <a:extLst>
                  <a:ext uri="{FF2B5EF4-FFF2-40B4-BE49-F238E27FC236}">
                    <a16:creationId xmlns:a16="http://schemas.microsoft.com/office/drawing/2014/main" id="{C14BF7E4-9B17-4095-9382-1C40497DDA69}"/>
                  </a:ext>
                </a:extLst>
              </p:cNvPr>
              <p:cNvCxnSpPr/>
              <p:nvPr/>
            </p:nvCxnSpPr>
            <p:spPr>
              <a:xfrm flipV="1">
                <a:off x="2614864" y="3850104"/>
                <a:ext cx="1411705" cy="2133600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59" name="Straight Connector 258">
                <a:extLst>
                  <a:ext uri="{FF2B5EF4-FFF2-40B4-BE49-F238E27FC236}">
                    <a16:creationId xmlns:a16="http://schemas.microsoft.com/office/drawing/2014/main" id="{D381E10F-5076-45EC-8088-FFACE0D7C84B}"/>
                  </a:ext>
                </a:extLst>
              </p:cNvPr>
              <p:cNvCxnSpPr/>
              <p:nvPr/>
            </p:nvCxnSpPr>
            <p:spPr>
              <a:xfrm>
                <a:off x="4026569" y="3866146"/>
                <a:ext cx="1267327" cy="882316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0" name="Straight Connector 259">
                <a:extLst>
                  <a:ext uri="{FF2B5EF4-FFF2-40B4-BE49-F238E27FC236}">
                    <a16:creationId xmlns:a16="http://schemas.microsoft.com/office/drawing/2014/main" id="{7A2A4C23-CBD9-491A-AF80-98C95C78C7C4}"/>
                  </a:ext>
                </a:extLst>
              </p:cNvPr>
              <p:cNvCxnSpPr/>
              <p:nvPr/>
            </p:nvCxnSpPr>
            <p:spPr>
              <a:xfrm flipH="1">
                <a:off x="2614864" y="4780546"/>
                <a:ext cx="2662990" cy="1199465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1" name="Straight Connector 260">
                <a:extLst>
                  <a:ext uri="{FF2B5EF4-FFF2-40B4-BE49-F238E27FC236}">
                    <a16:creationId xmlns:a16="http://schemas.microsoft.com/office/drawing/2014/main" id="{650C96FA-8B61-43BE-9377-9086B8C62A4D}"/>
                  </a:ext>
                </a:extLst>
              </p:cNvPr>
              <p:cNvCxnSpPr/>
              <p:nvPr/>
            </p:nvCxnSpPr>
            <p:spPr>
              <a:xfrm>
                <a:off x="2470485" y="3850104"/>
                <a:ext cx="2823411" cy="914400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2" name="Straight Connector 261">
                <a:extLst>
                  <a:ext uri="{FF2B5EF4-FFF2-40B4-BE49-F238E27FC236}">
                    <a16:creationId xmlns:a16="http://schemas.microsoft.com/office/drawing/2014/main" id="{54175B88-6F63-47CA-BC2A-F0773BD4331E}"/>
                  </a:ext>
                </a:extLst>
              </p:cNvPr>
              <p:cNvCxnSpPr/>
              <p:nvPr/>
            </p:nvCxnSpPr>
            <p:spPr>
              <a:xfrm flipV="1">
                <a:off x="2438400" y="2823411"/>
                <a:ext cx="3834062" cy="1026694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3" name="Straight Connector 262">
                <a:extLst>
                  <a:ext uri="{FF2B5EF4-FFF2-40B4-BE49-F238E27FC236}">
                    <a16:creationId xmlns:a16="http://schemas.microsoft.com/office/drawing/2014/main" id="{612E946A-2399-44FB-9606-8EB6DB0B408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4660231" y="2180695"/>
                <a:ext cx="1666449" cy="649161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4" name="Straight Connector 263">
                <a:extLst>
                  <a:ext uri="{FF2B5EF4-FFF2-40B4-BE49-F238E27FC236}">
                    <a16:creationId xmlns:a16="http://schemas.microsoft.com/office/drawing/2014/main" id="{147F946A-5C66-4AF7-A4C2-44386831F565}"/>
                  </a:ext>
                </a:extLst>
              </p:cNvPr>
              <p:cNvCxnSpPr/>
              <p:nvPr/>
            </p:nvCxnSpPr>
            <p:spPr>
              <a:xfrm flipH="1">
                <a:off x="4026568" y="2130450"/>
                <a:ext cx="633663" cy="1732003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5" name="Straight Connector 264">
                <a:extLst>
                  <a:ext uri="{FF2B5EF4-FFF2-40B4-BE49-F238E27FC236}">
                    <a16:creationId xmlns:a16="http://schemas.microsoft.com/office/drawing/2014/main" id="{B81B2A0D-02F7-4224-850E-C0656BF2C5E1}"/>
                  </a:ext>
                </a:extLst>
              </p:cNvPr>
              <p:cNvCxnSpPr/>
              <p:nvPr/>
            </p:nvCxnSpPr>
            <p:spPr>
              <a:xfrm>
                <a:off x="4058654" y="3900350"/>
                <a:ext cx="3547859" cy="1029176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6" name="Straight Connector 265">
                <a:extLst>
                  <a:ext uri="{FF2B5EF4-FFF2-40B4-BE49-F238E27FC236}">
                    <a16:creationId xmlns:a16="http://schemas.microsoft.com/office/drawing/2014/main" id="{F9E2985C-7E8E-40B5-81B1-268824AFB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93895" y="4752157"/>
                <a:ext cx="2423966" cy="206942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7" name="Straight Connector 266">
                <a:extLst>
                  <a:ext uri="{FF2B5EF4-FFF2-40B4-BE49-F238E27FC236}">
                    <a16:creationId xmlns:a16="http://schemas.microsoft.com/office/drawing/2014/main" id="{013D1EC3-4660-4D59-88A5-DF821E112E4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720416" y="2374232"/>
                <a:ext cx="1107852" cy="2518579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8" name="Straight Connector 267">
                <a:extLst>
                  <a:ext uri="{FF2B5EF4-FFF2-40B4-BE49-F238E27FC236}">
                    <a16:creationId xmlns:a16="http://schemas.microsoft.com/office/drawing/2014/main" id="{622507F4-6B17-48D3-B47E-884B64B307B8}"/>
                  </a:ext>
                </a:extLst>
              </p:cNvPr>
              <p:cNvCxnSpPr/>
              <p:nvPr/>
            </p:nvCxnSpPr>
            <p:spPr>
              <a:xfrm flipH="1">
                <a:off x="5277855" y="2374233"/>
                <a:ext cx="3547859" cy="2406316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69" name="Straight Connector 268">
                <a:extLst>
                  <a:ext uri="{FF2B5EF4-FFF2-40B4-BE49-F238E27FC236}">
                    <a16:creationId xmlns:a16="http://schemas.microsoft.com/office/drawing/2014/main" id="{E2318BFD-408F-4199-8623-5A6F2990282F}"/>
                  </a:ext>
                </a:extLst>
              </p:cNvPr>
              <p:cNvCxnSpPr/>
              <p:nvPr/>
            </p:nvCxnSpPr>
            <p:spPr>
              <a:xfrm flipH="1" flipV="1">
                <a:off x="6248401" y="2823412"/>
                <a:ext cx="1435769" cy="2119645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0" name="Straight Connector 269">
                <a:extLst>
                  <a:ext uri="{FF2B5EF4-FFF2-40B4-BE49-F238E27FC236}">
                    <a16:creationId xmlns:a16="http://schemas.microsoft.com/office/drawing/2014/main" id="{E79886FB-2ABE-475C-A950-0173F3963B90}"/>
                  </a:ext>
                </a:extLst>
              </p:cNvPr>
              <p:cNvCxnSpPr/>
              <p:nvPr/>
            </p:nvCxnSpPr>
            <p:spPr>
              <a:xfrm flipV="1">
                <a:off x="6302617" y="2374233"/>
                <a:ext cx="2550695" cy="449180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1" name="Straight Connector 270">
                <a:extLst>
                  <a:ext uri="{FF2B5EF4-FFF2-40B4-BE49-F238E27FC236}">
                    <a16:creationId xmlns:a16="http://schemas.microsoft.com/office/drawing/2014/main" id="{86F945F1-9E7C-4630-B27E-D2A10CE97A64}"/>
                  </a:ext>
                </a:extLst>
              </p:cNvPr>
              <p:cNvCxnSpPr/>
              <p:nvPr/>
            </p:nvCxnSpPr>
            <p:spPr>
              <a:xfrm flipV="1">
                <a:off x="4660231" y="1005871"/>
                <a:ext cx="1238496" cy="1124581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0B9DD3F3-4595-42DD-B331-898D9C26256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89383" y="1005871"/>
                <a:ext cx="399120" cy="1858616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3" name="Straight Connector 272">
                <a:extLst>
                  <a:ext uri="{FF2B5EF4-FFF2-40B4-BE49-F238E27FC236}">
                    <a16:creationId xmlns:a16="http://schemas.microsoft.com/office/drawing/2014/main" id="{125F1E96-0420-407C-8F47-96D9E85409DD}"/>
                  </a:ext>
                </a:extLst>
              </p:cNvPr>
              <p:cNvCxnSpPr/>
              <p:nvPr/>
            </p:nvCxnSpPr>
            <p:spPr>
              <a:xfrm flipH="1">
                <a:off x="5250253" y="2914731"/>
                <a:ext cx="995592" cy="1898902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74" name="Straight Connector 273">
                <a:extLst>
                  <a:ext uri="{FF2B5EF4-FFF2-40B4-BE49-F238E27FC236}">
                    <a16:creationId xmlns:a16="http://schemas.microsoft.com/office/drawing/2014/main" id="{7B5A6211-CAF2-41D8-A64D-9B4B19AE5DC4}"/>
                  </a:ext>
                </a:extLst>
              </p:cNvPr>
              <p:cNvCxnSpPr/>
              <p:nvPr/>
            </p:nvCxnSpPr>
            <p:spPr>
              <a:xfrm>
                <a:off x="4644190" y="2164653"/>
                <a:ext cx="621140" cy="2671436"/>
              </a:xfrm>
              <a:prstGeom prst="line">
                <a:avLst/>
              </a:prstGeom>
              <a:grpFill/>
              <a:ln w="635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</p:cxnSp>
        </p:grpSp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id="{B2B185ED-E188-43CD-B6C9-9678AEF35DE0}"/>
                </a:ext>
              </a:extLst>
            </p:cNvPr>
            <p:cNvGrpSpPr/>
            <p:nvPr/>
          </p:nvGrpSpPr>
          <p:grpSpPr>
            <a:xfrm>
              <a:off x="5706071" y="2873948"/>
              <a:ext cx="6894460" cy="4241465"/>
              <a:chOff x="7062860" y="3526309"/>
              <a:chExt cx="5305592" cy="3263995"/>
            </a:xfrm>
            <a:grpFill/>
          </p:grpSpPr>
          <p:sp>
            <p:nvSpPr>
              <p:cNvPr id="249" name="Oval 248">
                <a:extLst>
                  <a:ext uri="{FF2B5EF4-FFF2-40B4-BE49-F238E27FC236}">
                    <a16:creationId xmlns:a16="http://schemas.microsoft.com/office/drawing/2014/main" id="{37FFEB92-A136-4D08-98DE-B27F0709E89F}"/>
                  </a:ext>
                </a:extLst>
              </p:cNvPr>
              <p:cNvSpPr/>
              <p:nvPr/>
            </p:nvSpPr>
            <p:spPr>
              <a:xfrm rot="20296323" flipH="1">
                <a:off x="8662867" y="3526309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B2672C80-7C7D-4304-9B19-6A9ECF566CBC}"/>
                  </a:ext>
                </a:extLst>
              </p:cNvPr>
              <p:cNvSpPr/>
              <p:nvPr/>
            </p:nvSpPr>
            <p:spPr>
              <a:xfrm rot="20296323" flipH="1">
                <a:off x="8907796" y="4876102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1DF3710F-F283-43A1-8D97-EE9BDFD7FF83}"/>
                  </a:ext>
                </a:extLst>
              </p:cNvPr>
              <p:cNvSpPr/>
              <p:nvPr/>
            </p:nvSpPr>
            <p:spPr>
              <a:xfrm rot="20296323" flipH="1">
                <a:off x="7062860" y="5227719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60AE6EA3-A81C-4A44-848E-A5ADE9166ECC}"/>
                  </a:ext>
                </a:extLst>
              </p:cNvPr>
              <p:cNvSpPr/>
              <p:nvPr/>
            </p:nvSpPr>
            <p:spPr>
              <a:xfrm rot="20296323" flipH="1">
                <a:off x="8518936" y="6640911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67892256-795E-4D1A-A2FC-77E9C3E57A28}"/>
                  </a:ext>
                </a:extLst>
              </p:cNvPr>
              <p:cNvSpPr/>
              <p:nvPr/>
            </p:nvSpPr>
            <p:spPr>
              <a:xfrm rot="20296323" flipH="1">
                <a:off x="10079199" y="5906823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758D292C-E237-471A-A88E-4C5C3AA86167}"/>
                  </a:ext>
                </a:extLst>
              </p:cNvPr>
              <p:cNvSpPr/>
              <p:nvPr/>
            </p:nvSpPr>
            <p:spPr>
              <a:xfrm rot="20296323" flipH="1">
                <a:off x="10683625" y="4962952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55" name="Oval 254">
                <a:extLst>
                  <a:ext uri="{FF2B5EF4-FFF2-40B4-BE49-F238E27FC236}">
                    <a16:creationId xmlns:a16="http://schemas.microsoft.com/office/drawing/2014/main" id="{EEC2B04A-525F-4644-A21B-43970FC7DFE1}"/>
                  </a:ext>
                </a:extLst>
              </p:cNvPr>
              <p:cNvSpPr/>
              <p:nvPr/>
            </p:nvSpPr>
            <p:spPr>
              <a:xfrm rot="20296323" flipH="1">
                <a:off x="12219059" y="5992920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37848DDE-8E59-4193-BC1E-9A1F400B2404}"/>
                  </a:ext>
                </a:extLst>
              </p:cNvPr>
              <p:cNvSpPr/>
              <p:nvPr/>
            </p:nvSpPr>
            <p:spPr>
              <a:xfrm rot="20296323" flipH="1">
                <a:off x="11731627" y="4518881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B4DA61F4-4622-4D05-89AB-62A2121B1B83}"/>
                  </a:ext>
                </a:extLst>
              </p:cNvPr>
              <p:cNvSpPr/>
              <p:nvPr/>
            </p:nvSpPr>
            <p:spPr>
              <a:xfrm rot="20296323" flipH="1">
                <a:off x="9833315" y="3958950"/>
                <a:ext cx="149393" cy="149393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DBE2E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id-ID" kern="0">
                  <a:solidFill>
                    <a:prstClr val="white"/>
                  </a:solidFill>
                  <a:latin typeface="Calibri" panose="020F0502020204030204"/>
                  <a:cs typeface="Arial"/>
                </a:endParaRPr>
              </a:p>
            </p:txBody>
          </p:sp>
        </p:grpSp>
      </p:grpSp>
      <p:sp>
        <p:nvSpPr>
          <p:cNvPr id="160" name="Freeform: Shape 159">
            <a:extLst>
              <a:ext uri="{FF2B5EF4-FFF2-40B4-BE49-F238E27FC236}">
                <a16:creationId xmlns:a16="http://schemas.microsoft.com/office/drawing/2014/main" id="{7AB4714D-BD11-4003-94C7-D783049070CE}"/>
              </a:ext>
            </a:extLst>
          </p:cNvPr>
          <p:cNvSpPr/>
          <p:nvPr/>
        </p:nvSpPr>
        <p:spPr>
          <a:xfrm>
            <a:off x="-192618" y="3227329"/>
            <a:ext cx="13476796" cy="1524663"/>
          </a:xfrm>
          <a:custGeom>
            <a:avLst/>
            <a:gdLst>
              <a:gd name="connsiteX0" fmla="*/ 0 w 10550769"/>
              <a:gd name="connsiteY0" fmla="*/ 1708781 h 2071447"/>
              <a:gd name="connsiteX1" fmla="*/ 1664677 w 10550769"/>
              <a:gd name="connsiteY1" fmla="*/ 1966689 h 2071447"/>
              <a:gd name="connsiteX2" fmla="*/ 2485292 w 10550769"/>
              <a:gd name="connsiteY2" fmla="*/ 184781 h 2071447"/>
              <a:gd name="connsiteX3" fmla="*/ 4173415 w 10550769"/>
              <a:gd name="connsiteY3" fmla="*/ 958504 h 2071447"/>
              <a:gd name="connsiteX4" fmla="*/ 5931877 w 10550769"/>
              <a:gd name="connsiteY4" fmla="*/ 700596 h 2071447"/>
              <a:gd name="connsiteX5" fmla="*/ 7620000 w 10550769"/>
              <a:gd name="connsiteY5" fmla="*/ 1990135 h 2071447"/>
              <a:gd name="connsiteX6" fmla="*/ 8862646 w 10550769"/>
              <a:gd name="connsiteY6" fmla="*/ 161335 h 2071447"/>
              <a:gd name="connsiteX7" fmla="*/ 10550769 w 10550769"/>
              <a:gd name="connsiteY7" fmla="*/ 208227 h 2071447"/>
              <a:gd name="connsiteX0" fmla="*/ 0 w 10550769"/>
              <a:gd name="connsiteY0" fmla="*/ 1797786 h 2160452"/>
              <a:gd name="connsiteX1" fmla="*/ 1664677 w 10550769"/>
              <a:gd name="connsiteY1" fmla="*/ 2055694 h 2160452"/>
              <a:gd name="connsiteX2" fmla="*/ 2485292 w 10550769"/>
              <a:gd name="connsiteY2" fmla="*/ 273786 h 2160452"/>
              <a:gd name="connsiteX3" fmla="*/ 4173415 w 10550769"/>
              <a:gd name="connsiteY3" fmla="*/ 1047509 h 2160452"/>
              <a:gd name="connsiteX4" fmla="*/ 5931877 w 10550769"/>
              <a:gd name="connsiteY4" fmla="*/ 789601 h 2160452"/>
              <a:gd name="connsiteX5" fmla="*/ 7620000 w 10550769"/>
              <a:gd name="connsiteY5" fmla="*/ 2079140 h 2160452"/>
              <a:gd name="connsiteX6" fmla="*/ 8862646 w 10550769"/>
              <a:gd name="connsiteY6" fmla="*/ 250340 h 2160452"/>
              <a:gd name="connsiteX7" fmla="*/ 10550769 w 10550769"/>
              <a:gd name="connsiteY7" fmla="*/ 297232 h 2160452"/>
              <a:gd name="connsiteX0" fmla="*/ 0 w 10550769"/>
              <a:gd name="connsiteY0" fmla="*/ 1805444 h 2168110"/>
              <a:gd name="connsiteX1" fmla="*/ 1664677 w 10550769"/>
              <a:gd name="connsiteY1" fmla="*/ 2063352 h 2168110"/>
              <a:gd name="connsiteX2" fmla="*/ 2485292 w 10550769"/>
              <a:gd name="connsiteY2" fmla="*/ 281444 h 2168110"/>
              <a:gd name="connsiteX3" fmla="*/ 4173415 w 10550769"/>
              <a:gd name="connsiteY3" fmla="*/ 1055167 h 2168110"/>
              <a:gd name="connsiteX4" fmla="*/ 5931877 w 10550769"/>
              <a:gd name="connsiteY4" fmla="*/ 797259 h 2168110"/>
              <a:gd name="connsiteX5" fmla="*/ 7620000 w 10550769"/>
              <a:gd name="connsiteY5" fmla="*/ 2086798 h 2168110"/>
              <a:gd name="connsiteX6" fmla="*/ 8862646 w 10550769"/>
              <a:gd name="connsiteY6" fmla="*/ 257998 h 2168110"/>
              <a:gd name="connsiteX7" fmla="*/ 10550769 w 10550769"/>
              <a:gd name="connsiteY7" fmla="*/ 304890 h 2168110"/>
              <a:gd name="connsiteX0" fmla="*/ 0 w 10550769"/>
              <a:gd name="connsiteY0" fmla="*/ 1809380 h 2172046"/>
              <a:gd name="connsiteX1" fmla="*/ 1664677 w 10550769"/>
              <a:gd name="connsiteY1" fmla="*/ 2067288 h 2172046"/>
              <a:gd name="connsiteX2" fmla="*/ 2485292 w 10550769"/>
              <a:gd name="connsiteY2" fmla="*/ 285380 h 2172046"/>
              <a:gd name="connsiteX3" fmla="*/ 4173415 w 10550769"/>
              <a:gd name="connsiteY3" fmla="*/ 1059103 h 2172046"/>
              <a:gd name="connsiteX4" fmla="*/ 5931877 w 10550769"/>
              <a:gd name="connsiteY4" fmla="*/ 801195 h 2172046"/>
              <a:gd name="connsiteX5" fmla="*/ 7620000 w 10550769"/>
              <a:gd name="connsiteY5" fmla="*/ 2090734 h 2172046"/>
              <a:gd name="connsiteX6" fmla="*/ 8862646 w 10550769"/>
              <a:gd name="connsiteY6" fmla="*/ 261934 h 2172046"/>
              <a:gd name="connsiteX7" fmla="*/ 10550769 w 10550769"/>
              <a:gd name="connsiteY7" fmla="*/ 308826 h 2172046"/>
              <a:gd name="connsiteX0" fmla="*/ 0 w 10550769"/>
              <a:gd name="connsiteY0" fmla="*/ 1797787 h 2160453"/>
              <a:gd name="connsiteX1" fmla="*/ 1664677 w 10550769"/>
              <a:gd name="connsiteY1" fmla="*/ 2055695 h 2160453"/>
              <a:gd name="connsiteX2" fmla="*/ 2485292 w 10550769"/>
              <a:gd name="connsiteY2" fmla="*/ 273787 h 2160453"/>
              <a:gd name="connsiteX3" fmla="*/ 4173415 w 10550769"/>
              <a:gd name="connsiteY3" fmla="*/ 1047510 h 2160453"/>
              <a:gd name="connsiteX4" fmla="*/ 5931877 w 10550769"/>
              <a:gd name="connsiteY4" fmla="*/ 789602 h 2160453"/>
              <a:gd name="connsiteX5" fmla="*/ 7620000 w 10550769"/>
              <a:gd name="connsiteY5" fmla="*/ 2079141 h 2160453"/>
              <a:gd name="connsiteX6" fmla="*/ 8862646 w 10550769"/>
              <a:gd name="connsiteY6" fmla="*/ 250341 h 2160453"/>
              <a:gd name="connsiteX7" fmla="*/ 10550769 w 10550769"/>
              <a:gd name="connsiteY7" fmla="*/ 297233 h 2160453"/>
              <a:gd name="connsiteX0" fmla="*/ 0 w 10550769"/>
              <a:gd name="connsiteY0" fmla="*/ 1797787 h 2160453"/>
              <a:gd name="connsiteX1" fmla="*/ 1664677 w 10550769"/>
              <a:gd name="connsiteY1" fmla="*/ 2055695 h 2160453"/>
              <a:gd name="connsiteX2" fmla="*/ 2485292 w 10550769"/>
              <a:gd name="connsiteY2" fmla="*/ 273787 h 2160453"/>
              <a:gd name="connsiteX3" fmla="*/ 4173415 w 10550769"/>
              <a:gd name="connsiteY3" fmla="*/ 1047510 h 2160453"/>
              <a:gd name="connsiteX4" fmla="*/ 5931877 w 10550769"/>
              <a:gd name="connsiteY4" fmla="*/ 789602 h 2160453"/>
              <a:gd name="connsiteX5" fmla="*/ 7620000 w 10550769"/>
              <a:gd name="connsiteY5" fmla="*/ 2079141 h 2160453"/>
              <a:gd name="connsiteX6" fmla="*/ 8862646 w 10550769"/>
              <a:gd name="connsiteY6" fmla="*/ 250341 h 2160453"/>
              <a:gd name="connsiteX7" fmla="*/ 10550769 w 10550769"/>
              <a:gd name="connsiteY7" fmla="*/ 297233 h 2160453"/>
              <a:gd name="connsiteX0" fmla="*/ 0 w 10550769"/>
              <a:gd name="connsiteY0" fmla="*/ 1797787 h 2160453"/>
              <a:gd name="connsiteX1" fmla="*/ 1664677 w 10550769"/>
              <a:gd name="connsiteY1" fmla="*/ 2055695 h 2160453"/>
              <a:gd name="connsiteX2" fmla="*/ 2485292 w 10550769"/>
              <a:gd name="connsiteY2" fmla="*/ 273787 h 2160453"/>
              <a:gd name="connsiteX3" fmla="*/ 4289529 w 10550769"/>
              <a:gd name="connsiteY3" fmla="*/ 1076539 h 2160453"/>
              <a:gd name="connsiteX4" fmla="*/ 5931877 w 10550769"/>
              <a:gd name="connsiteY4" fmla="*/ 789602 h 2160453"/>
              <a:gd name="connsiteX5" fmla="*/ 7620000 w 10550769"/>
              <a:gd name="connsiteY5" fmla="*/ 2079141 h 2160453"/>
              <a:gd name="connsiteX6" fmla="*/ 8862646 w 10550769"/>
              <a:gd name="connsiteY6" fmla="*/ 250341 h 2160453"/>
              <a:gd name="connsiteX7" fmla="*/ 10550769 w 10550769"/>
              <a:gd name="connsiteY7" fmla="*/ 297233 h 2160453"/>
              <a:gd name="connsiteX0" fmla="*/ 0 w 10550769"/>
              <a:gd name="connsiteY0" fmla="*/ 1797787 h 2160453"/>
              <a:gd name="connsiteX1" fmla="*/ 1664677 w 10550769"/>
              <a:gd name="connsiteY1" fmla="*/ 2055695 h 2160453"/>
              <a:gd name="connsiteX2" fmla="*/ 2485292 w 10550769"/>
              <a:gd name="connsiteY2" fmla="*/ 273787 h 2160453"/>
              <a:gd name="connsiteX3" fmla="*/ 4289529 w 10550769"/>
              <a:gd name="connsiteY3" fmla="*/ 1076539 h 2160453"/>
              <a:gd name="connsiteX4" fmla="*/ 5931877 w 10550769"/>
              <a:gd name="connsiteY4" fmla="*/ 789602 h 2160453"/>
              <a:gd name="connsiteX5" fmla="*/ 7620000 w 10550769"/>
              <a:gd name="connsiteY5" fmla="*/ 2079141 h 2160453"/>
              <a:gd name="connsiteX6" fmla="*/ 8862646 w 10550769"/>
              <a:gd name="connsiteY6" fmla="*/ 250341 h 2160453"/>
              <a:gd name="connsiteX7" fmla="*/ 10550769 w 10550769"/>
              <a:gd name="connsiteY7" fmla="*/ 297233 h 2160453"/>
              <a:gd name="connsiteX0" fmla="*/ 0 w 10550769"/>
              <a:gd name="connsiteY0" fmla="*/ 1797787 h 2160453"/>
              <a:gd name="connsiteX1" fmla="*/ 1664677 w 10550769"/>
              <a:gd name="connsiteY1" fmla="*/ 2055695 h 2160453"/>
              <a:gd name="connsiteX2" fmla="*/ 2485292 w 10550769"/>
              <a:gd name="connsiteY2" fmla="*/ 273787 h 2160453"/>
              <a:gd name="connsiteX3" fmla="*/ 4289529 w 10550769"/>
              <a:gd name="connsiteY3" fmla="*/ 1076539 h 2160453"/>
              <a:gd name="connsiteX4" fmla="*/ 5931877 w 10550769"/>
              <a:gd name="connsiteY4" fmla="*/ 789602 h 2160453"/>
              <a:gd name="connsiteX5" fmla="*/ 7620000 w 10550769"/>
              <a:gd name="connsiteY5" fmla="*/ 2079141 h 2160453"/>
              <a:gd name="connsiteX6" fmla="*/ 8862646 w 10550769"/>
              <a:gd name="connsiteY6" fmla="*/ 250341 h 2160453"/>
              <a:gd name="connsiteX7" fmla="*/ 10550769 w 10550769"/>
              <a:gd name="connsiteY7" fmla="*/ 297233 h 2160453"/>
              <a:gd name="connsiteX0" fmla="*/ 0 w 10550769"/>
              <a:gd name="connsiteY0" fmla="*/ 1797787 h 2160453"/>
              <a:gd name="connsiteX1" fmla="*/ 1664677 w 10550769"/>
              <a:gd name="connsiteY1" fmla="*/ 2055695 h 2160453"/>
              <a:gd name="connsiteX2" fmla="*/ 2688492 w 10550769"/>
              <a:gd name="connsiteY2" fmla="*/ 273787 h 2160453"/>
              <a:gd name="connsiteX3" fmla="*/ 4289529 w 10550769"/>
              <a:gd name="connsiteY3" fmla="*/ 1076539 h 2160453"/>
              <a:gd name="connsiteX4" fmla="*/ 5931877 w 10550769"/>
              <a:gd name="connsiteY4" fmla="*/ 789602 h 2160453"/>
              <a:gd name="connsiteX5" fmla="*/ 7620000 w 10550769"/>
              <a:gd name="connsiteY5" fmla="*/ 2079141 h 2160453"/>
              <a:gd name="connsiteX6" fmla="*/ 8862646 w 10550769"/>
              <a:gd name="connsiteY6" fmla="*/ 250341 h 2160453"/>
              <a:gd name="connsiteX7" fmla="*/ 10550769 w 10550769"/>
              <a:gd name="connsiteY7" fmla="*/ 297233 h 2160453"/>
              <a:gd name="connsiteX0" fmla="*/ 0 w 10550769"/>
              <a:gd name="connsiteY0" fmla="*/ 1797787 h 2160453"/>
              <a:gd name="connsiteX1" fmla="*/ 1664677 w 10550769"/>
              <a:gd name="connsiteY1" fmla="*/ 2055695 h 2160453"/>
              <a:gd name="connsiteX2" fmla="*/ 2688492 w 10550769"/>
              <a:gd name="connsiteY2" fmla="*/ 273787 h 2160453"/>
              <a:gd name="connsiteX3" fmla="*/ 4289529 w 10550769"/>
              <a:gd name="connsiteY3" fmla="*/ 1076539 h 2160453"/>
              <a:gd name="connsiteX4" fmla="*/ 5931877 w 10550769"/>
              <a:gd name="connsiteY4" fmla="*/ 789602 h 2160453"/>
              <a:gd name="connsiteX5" fmla="*/ 7620000 w 10550769"/>
              <a:gd name="connsiteY5" fmla="*/ 2079141 h 2160453"/>
              <a:gd name="connsiteX6" fmla="*/ 8862646 w 10550769"/>
              <a:gd name="connsiteY6" fmla="*/ 250341 h 2160453"/>
              <a:gd name="connsiteX7" fmla="*/ 10550769 w 10550769"/>
              <a:gd name="connsiteY7" fmla="*/ 297233 h 2160453"/>
              <a:gd name="connsiteX0" fmla="*/ 0 w 10550769"/>
              <a:gd name="connsiteY0" fmla="*/ 1797787 h 2160453"/>
              <a:gd name="connsiteX1" fmla="*/ 1664677 w 10550769"/>
              <a:gd name="connsiteY1" fmla="*/ 2055695 h 2160453"/>
              <a:gd name="connsiteX2" fmla="*/ 2688492 w 10550769"/>
              <a:gd name="connsiteY2" fmla="*/ 273787 h 2160453"/>
              <a:gd name="connsiteX3" fmla="*/ 4289529 w 10550769"/>
              <a:gd name="connsiteY3" fmla="*/ 1076539 h 2160453"/>
              <a:gd name="connsiteX4" fmla="*/ 5931877 w 10550769"/>
              <a:gd name="connsiteY4" fmla="*/ 789602 h 2160453"/>
              <a:gd name="connsiteX5" fmla="*/ 7620000 w 10550769"/>
              <a:gd name="connsiteY5" fmla="*/ 2079141 h 2160453"/>
              <a:gd name="connsiteX6" fmla="*/ 8862646 w 10550769"/>
              <a:gd name="connsiteY6" fmla="*/ 250341 h 2160453"/>
              <a:gd name="connsiteX7" fmla="*/ 10550769 w 10550769"/>
              <a:gd name="connsiteY7" fmla="*/ 297233 h 2160453"/>
              <a:gd name="connsiteX0" fmla="*/ 0 w 10550769"/>
              <a:gd name="connsiteY0" fmla="*/ 1797787 h 2160453"/>
              <a:gd name="connsiteX1" fmla="*/ 1664677 w 10550769"/>
              <a:gd name="connsiteY1" fmla="*/ 2055695 h 2160453"/>
              <a:gd name="connsiteX2" fmla="*/ 2688492 w 10550769"/>
              <a:gd name="connsiteY2" fmla="*/ 273787 h 2160453"/>
              <a:gd name="connsiteX3" fmla="*/ 4289529 w 10550769"/>
              <a:gd name="connsiteY3" fmla="*/ 1076539 h 2160453"/>
              <a:gd name="connsiteX4" fmla="*/ 5931877 w 10550769"/>
              <a:gd name="connsiteY4" fmla="*/ 789602 h 2160453"/>
              <a:gd name="connsiteX5" fmla="*/ 7620000 w 10550769"/>
              <a:gd name="connsiteY5" fmla="*/ 2079141 h 2160453"/>
              <a:gd name="connsiteX6" fmla="*/ 8862646 w 10550769"/>
              <a:gd name="connsiteY6" fmla="*/ 250341 h 2160453"/>
              <a:gd name="connsiteX7" fmla="*/ 10550769 w 10550769"/>
              <a:gd name="connsiteY7" fmla="*/ 297233 h 2160453"/>
              <a:gd name="connsiteX0" fmla="*/ 0 w 10550769"/>
              <a:gd name="connsiteY0" fmla="*/ 1797787 h 2160453"/>
              <a:gd name="connsiteX1" fmla="*/ 1664677 w 10550769"/>
              <a:gd name="connsiteY1" fmla="*/ 2055695 h 2160453"/>
              <a:gd name="connsiteX2" fmla="*/ 2688492 w 10550769"/>
              <a:gd name="connsiteY2" fmla="*/ 273787 h 2160453"/>
              <a:gd name="connsiteX3" fmla="*/ 4289529 w 10550769"/>
              <a:gd name="connsiteY3" fmla="*/ 1076539 h 2160453"/>
              <a:gd name="connsiteX4" fmla="*/ 5931877 w 10550769"/>
              <a:gd name="connsiteY4" fmla="*/ 789602 h 2160453"/>
              <a:gd name="connsiteX5" fmla="*/ 7620000 w 10550769"/>
              <a:gd name="connsiteY5" fmla="*/ 2079141 h 2160453"/>
              <a:gd name="connsiteX6" fmla="*/ 8862646 w 10550769"/>
              <a:gd name="connsiteY6" fmla="*/ 250341 h 2160453"/>
              <a:gd name="connsiteX7" fmla="*/ 10550769 w 10550769"/>
              <a:gd name="connsiteY7" fmla="*/ 297233 h 2160453"/>
              <a:gd name="connsiteX0" fmla="*/ 0 w 10550769"/>
              <a:gd name="connsiteY0" fmla="*/ 1797787 h 2146325"/>
              <a:gd name="connsiteX1" fmla="*/ 1664677 w 10550769"/>
              <a:gd name="connsiteY1" fmla="*/ 2055695 h 2146325"/>
              <a:gd name="connsiteX2" fmla="*/ 2688492 w 10550769"/>
              <a:gd name="connsiteY2" fmla="*/ 273787 h 2146325"/>
              <a:gd name="connsiteX3" fmla="*/ 4289529 w 10550769"/>
              <a:gd name="connsiteY3" fmla="*/ 1076539 h 2146325"/>
              <a:gd name="connsiteX4" fmla="*/ 5931877 w 10550769"/>
              <a:gd name="connsiteY4" fmla="*/ 789602 h 2146325"/>
              <a:gd name="connsiteX5" fmla="*/ 7620000 w 10550769"/>
              <a:gd name="connsiteY5" fmla="*/ 2079141 h 2146325"/>
              <a:gd name="connsiteX6" fmla="*/ 8862646 w 10550769"/>
              <a:gd name="connsiteY6" fmla="*/ 250341 h 2146325"/>
              <a:gd name="connsiteX7" fmla="*/ 10550769 w 10550769"/>
              <a:gd name="connsiteY7" fmla="*/ 297233 h 2146325"/>
              <a:gd name="connsiteX0" fmla="*/ 0 w 10550769"/>
              <a:gd name="connsiteY0" fmla="*/ 1797787 h 2146325"/>
              <a:gd name="connsiteX1" fmla="*/ 1664677 w 10550769"/>
              <a:gd name="connsiteY1" fmla="*/ 2055695 h 2146325"/>
              <a:gd name="connsiteX2" fmla="*/ 2688492 w 10550769"/>
              <a:gd name="connsiteY2" fmla="*/ 273787 h 2146325"/>
              <a:gd name="connsiteX3" fmla="*/ 4289529 w 10550769"/>
              <a:gd name="connsiteY3" fmla="*/ 1076539 h 2146325"/>
              <a:gd name="connsiteX4" fmla="*/ 5931877 w 10550769"/>
              <a:gd name="connsiteY4" fmla="*/ 789602 h 2146325"/>
              <a:gd name="connsiteX5" fmla="*/ 7620000 w 10550769"/>
              <a:gd name="connsiteY5" fmla="*/ 2079141 h 2146325"/>
              <a:gd name="connsiteX6" fmla="*/ 8862646 w 10550769"/>
              <a:gd name="connsiteY6" fmla="*/ 250341 h 2146325"/>
              <a:gd name="connsiteX7" fmla="*/ 10550769 w 10550769"/>
              <a:gd name="connsiteY7" fmla="*/ 297233 h 2146325"/>
              <a:gd name="connsiteX0" fmla="*/ 0 w 10550769"/>
              <a:gd name="connsiteY0" fmla="*/ 1797787 h 2162107"/>
              <a:gd name="connsiteX1" fmla="*/ 1664677 w 10550769"/>
              <a:gd name="connsiteY1" fmla="*/ 2055695 h 2162107"/>
              <a:gd name="connsiteX2" fmla="*/ 2688492 w 10550769"/>
              <a:gd name="connsiteY2" fmla="*/ 273787 h 2162107"/>
              <a:gd name="connsiteX3" fmla="*/ 4289529 w 10550769"/>
              <a:gd name="connsiteY3" fmla="*/ 1076539 h 2162107"/>
              <a:gd name="connsiteX4" fmla="*/ 5931877 w 10550769"/>
              <a:gd name="connsiteY4" fmla="*/ 789602 h 2162107"/>
              <a:gd name="connsiteX5" fmla="*/ 7620000 w 10550769"/>
              <a:gd name="connsiteY5" fmla="*/ 2079141 h 2162107"/>
              <a:gd name="connsiteX6" fmla="*/ 8862646 w 10550769"/>
              <a:gd name="connsiteY6" fmla="*/ 250341 h 2162107"/>
              <a:gd name="connsiteX7" fmla="*/ 10550769 w 10550769"/>
              <a:gd name="connsiteY7" fmla="*/ 297233 h 2162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50769" h="2162107">
                <a:moveTo>
                  <a:pt x="0" y="1797787"/>
                </a:moveTo>
                <a:cubicBezTo>
                  <a:pt x="625231" y="1966655"/>
                  <a:pt x="1105535" y="2346715"/>
                  <a:pt x="1664677" y="2055695"/>
                </a:cubicBezTo>
                <a:cubicBezTo>
                  <a:pt x="2223819" y="1764675"/>
                  <a:pt x="2047817" y="262809"/>
                  <a:pt x="2688492" y="273787"/>
                </a:cubicBezTo>
                <a:cubicBezTo>
                  <a:pt x="3329167" y="284765"/>
                  <a:pt x="3647365" y="1048627"/>
                  <a:pt x="4289529" y="1076539"/>
                </a:cubicBezTo>
                <a:cubicBezTo>
                  <a:pt x="4931693" y="1104451"/>
                  <a:pt x="5318742" y="680559"/>
                  <a:pt x="5931877" y="789602"/>
                </a:cubicBezTo>
                <a:cubicBezTo>
                  <a:pt x="6545012" y="898645"/>
                  <a:pt x="6913824" y="2096446"/>
                  <a:pt x="7620000" y="2079141"/>
                </a:cubicBezTo>
                <a:cubicBezTo>
                  <a:pt x="8326176" y="2061836"/>
                  <a:pt x="8185498" y="750526"/>
                  <a:pt x="8862646" y="250341"/>
                </a:cubicBezTo>
                <a:cubicBezTo>
                  <a:pt x="9539794" y="-249844"/>
                  <a:pt x="10212195" y="125294"/>
                  <a:pt x="10550769" y="297233"/>
                </a:cubicBezTo>
              </a:path>
            </a:pathLst>
          </a:custGeom>
          <a:noFill/>
          <a:ln w="38100" cap="rnd" cmpd="sng" algn="ctr">
            <a:solidFill>
              <a:sysClr val="windowText" lastClr="000000">
                <a:lumMod val="65000"/>
                <a:lumOff val="35000"/>
              </a:sysClr>
            </a:solidFill>
            <a:prstDash val="solid"/>
            <a:miter lim="800000"/>
          </a:ln>
          <a:effectLst>
            <a:outerShdw blurRad="177800" dir="18900000" sy="23000" kx="-1200000" algn="bl" rotWithShape="0">
              <a:prstClr val="black">
                <a:alpha val="75000"/>
              </a:prstClr>
            </a:outerShdw>
          </a:effectLst>
        </p:spPr>
        <p:txBody>
          <a:bodyPr rtlCol="0" anchor="ctr"/>
          <a:lstStyle/>
          <a:p>
            <a:pPr algn="ctr" defTabSz="914377">
              <a:defRPr/>
            </a:pPr>
            <a:endParaRPr lang="en-US" kern="0">
              <a:solidFill>
                <a:prstClr val="white"/>
              </a:solidFill>
              <a:latin typeface="Calibri" panose="020F0502020204030204"/>
              <a:cs typeface="Arial"/>
            </a:endParaRP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1DF7C647-BA3F-4DED-9082-AFDC2EAC5303}"/>
              </a:ext>
            </a:extLst>
          </p:cNvPr>
          <p:cNvSpPr/>
          <p:nvPr/>
        </p:nvSpPr>
        <p:spPr>
          <a:xfrm>
            <a:off x="1248451" y="4660089"/>
            <a:ext cx="154479" cy="154479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>
              <a:solidFill>
                <a:prstClr val="white"/>
              </a:solidFill>
              <a:latin typeface="Calibri" panose="020F0502020204030204"/>
              <a:cs typeface="Arial"/>
            </a:endParaRPr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D7C674A7-3F67-4356-AAC6-4FD132304BD5}"/>
              </a:ext>
            </a:extLst>
          </p:cNvPr>
          <p:cNvSpPr/>
          <p:nvPr/>
        </p:nvSpPr>
        <p:spPr>
          <a:xfrm>
            <a:off x="2820186" y="3423851"/>
            <a:ext cx="154479" cy="154479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>
              <a:solidFill>
                <a:prstClr val="white"/>
              </a:solidFill>
              <a:latin typeface="Calibri" panose="020F0502020204030204"/>
              <a:cs typeface="Arial"/>
            </a:endParaRP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E4F00EBB-16FF-43ED-8CA4-B4D0C0F168B0}"/>
              </a:ext>
            </a:extLst>
          </p:cNvPr>
          <p:cNvSpPr/>
          <p:nvPr/>
        </p:nvSpPr>
        <p:spPr>
          <a:xfrm>
            <a:off x="4388841" y="3724417"/>
            <a:ext cx="154479" cy="154479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>
              <a:solidFill>
                <a:prstClr val="white"/>
              </a:solidFill>
              <a:latin typeface="Calibri" panose="020F0502020204030204"/>
              <a:cs typeface="Arial"/>
            </a:endParaRPr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37F59A36-7230-480B-A5E0-EF274F531C7A}"/>
              </a:ext>
            </a:extLst>
          </p:cNvPr>
          <p:cNvSpPr/>
          <p:nvPr/>
        </p:nvSpPr>
        <p:spPr>
          <a:xfrm>
            <a:off x="5774857" y="3865466"/>
            <a:ext cx="154479" cy="154479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>
              <a:solidFill>
                <a:prstClr val="white"/>
              </a:solidFill>
              <a:latin typeface="Calibri" panose="020F0502020204030204"/>
              <a:cs typeface="Arial"/>
            </a:endParaRP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5C91FD58-E91A-4DDB-87B3-E26B68F28D6B}"/>
              </a:ext>
            </a:extLst>
          </p:cNvPr>
          <p:cNvSpPr/>
          <p:nvPr/>
        </p:nvSpPr>
        <p:spPr>
          <a:xfrm flipV="1">
            <a:off x="7296722" y="3723471"/>
            <a:ext cx="150199" cy="154479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>
              <a:solidFill>
                <a:prstClr val="white"/>
              </a:solidFill>
              <a:latin typeface="Calibri" panose="020F0502020204030204"/>
              <a:cs typeface="Arial"/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23374087-C382-4FAA-B945-1BE4E98D36B6}"/>
              </a:ext>
            </a:extLst>
          </p:cNvPr>
          <p:cNvSpPr/>
          <p:nvPr/>
        </p:nvSpPr>
        <p:spPr>
          <a:xfrm>
            <a:off x="8841485" y="4478279"/>
            <a:ext cx="154479" cy="154479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>
              <a:solidFill>
                <a:prstClr val="white"/>
              </a:solidFill>
              <a:latin typeface="Calibri" panose="020F0502020204030204"/>
              <a:cs typeface="Arial"/>
            </a:endParaRPr>
          </a:p>
        </p:txBody>
      </p:sp>
      <p:grpSp>
        <p:nvGrpSpPr>
          <p:cNvPr id="58370" name="Group 58369">
            <a:extLst>
              <a:ext uri="{FF2B5EF4-FFF2-40B4-BE49-F238E27FC236}">
                <a16:creationId xmlns:a16="http://schemas.microsoft.com/office/drawing/2014/main" id="{9C1BD9FA-1234-43D0-9A14-FBD64C0244CE}"/>
              </a:ext>
            </a:extLst>
          </p:cNvPr>
          <p:cNvGrpSpPr/>
          <p:nvPr/>
        </p:nvGrpSpPr>
        <p:grpSpPr>
          <a:xfrm>
            <a:off x="1219837" y="1988391"/>
            <a:ext cx="1848355" cy="1251384"/>
            <a:chOff x="1490031" y="2013952"/>
            <a:chExt cx="1848355" cy="1251384"/>
          </a:xfrm>
          <a:solidFill>
            <a:srgbClr val="6088B3"/>
          </a:solidFill>
        </p:grpSpPr>
        <p:sp>
          <p:nvSpPr>
            <p:cNvPr id="58368" name="Isosceles Triangle 58367">
              <a:extLst>
                <a:ext uri="{FF2B5EF4-FFF2-40B4-BE49-F238E27FC236}">
                  <a16:creationId xmlns:a16="http://schemas.microsoft.com/office/drawing/2014/main" id="{54E9961D-ECDB-40DB-BE42-16E8009EAEB3}"/>
                </a:ext>
              </a:extLst>
            </p:cNvPr>
            <p:cNvSpPr/>
            <p:nvPr/>
          </p:nvSpPr>
          <p:spPr bwMode="auto">
            <a:xfrm rot="10800000">
              <a:off x="2647710" y="3029948"/>
              <a:ext cx="397266" cy="235388"/>
            </a:xfrm>
            <a:prstGeom prst="triangle">
              <a:avLst>
                <a:gd name="adj" fmla="val 0"/>
              </a:avLst>
            </a:prstGeom>
            <a:solidFill>
              <a:schemeClr val="accent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7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Rectangle: Rounded Corners 170">
              <a:extLst>
                <a:ext uri="{FF2B5EF4-FFF2-40B4-BE49-F238E27FC236}">
                  <a16:creationId xmlns:a16="http://schemas.microsoft.com/office/drawing/2014/main" id="{0807B3B5-018F-4901-966E-095AD451C7A3}"/>
                </a:ext>
              </a:extLst>
            </p:cNvPr>
            <p:cNvSpPr/>
            <p:nvPr/>
          </p:nvSpPr>
          <p:spPr>
            <a:xfrm>
              <a:off x="1490031" y="2013952"/>
              <a:ext cx="1848355" cy="1041249"/>
            </a:xfrm>
            <a:prstGeom prst="roundRect">
              <a:avLst>
                <a:gd name="adj" fmla="val 3556"/>
              </a:avLst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kern="0" dirty="0">
                <a:solidFill>
                  <a:prstClr val="white"/>
                </a:solidFill>
                <a:latin typeface="Calibri" panose="020F0502020204030204"/>
                <a:cs typeface="Arial"/>
              </a:endParaRPr>
            </a:p>
          </p:txBody>
        </p:sp>
      </p:grpSp>
      <p:sp>
        <p:nvSpPr>
          <p:cNvPr id="172" name="Rectangle 171">
            <a:extLst>
              <a:ext uri="{FF2B5EF4-FFF2-40B4-BE49-F238E27FC236}">
                <a16:creationId xmlns:a16="http://schemas.microsoft.com/office/drawing/2014/main" id="{52B3C46E-524C-4F84-9B8F-D44E7C6B0790}"/>
              </a:ext>
            </a:extLst>
          </p:cNvPr>
          <p:cNvSpPr/>
          <p:nvPr/>
        </p:nvSpPr>
        <p:spPr>
          <a:xfrm>
            <a:off x="1264851" y="2040059"/>
            <a:ext cx="1950829" cy="833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130000"/>
              </a:lnSpc>
              <a:defRPr/>
            </a:pPr>
            <a:r>
              <a:rPr lang="es-ES" sz="1100" b="1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OVIEMBRE</a:t>
            </a:r>
            <a:endParaRPr lang="id-ID" sz="1100" b="1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defTabSz="914377">
              <a:lnSpc>
                <a:spcPct val="130000"/>
              </a:lnSpc>
              <a:defRPr/>
            </a:pP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sentación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e la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puesta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e Estrategia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alenciana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e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cuperación</a:t>
            </a:r>
            <a:endParaRPr lang="en-US" sz="900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6CCB819D-B723-43D4-A05F-FDEE6F20DB69}"/>
              </a:ext>
            </a:extLst>
          </p:cNvPr>
          <p:cNvGrpSpPr/>
          <p:nvPr/>
        </p:nvGrpSpPr>
        <p:grpSpPr>
          <a:xfrm flipH="1" flipV="1">
            <a:off x="1118721" y="4873115"/>
            <a:ext cx="1848355" cy="1251384"/>
            <a:chOff x="1490031" y="2013952"/>
            <a:chExt cx="1848355" cy="1251384"/>
          </a:xfrm>
          <a:solidFill>
            <a:schemeClr val="bg1">
              <a:lumMod val="50000"/>
            </a:schemeClr>
          </a:solidFill>
        </p:grpSpPr>
        <p:sp>
          <p:nvSpPr>
            <p:cNvPr id="186" name="Isosceles Triangle 185">
              <a:extLst>
                <a:ext uri="{FF2B5EF4-FFF2-40B4-BE49-F238E27FC236}">
                  <a16:creationId xmlns:a16="http://schemas.microsoft.com/office/drawing/2014/main" id="{527F7014-8A56-4109-8DA9-9EA030077526}"/>
                </a:ext>
              </a:extLst>
            </p:cNvPr>
            <p:cNvSpPr/>
            <p:nvPr/>
          </p:nvSpPr>
          <p:spPr bwMode="auto">
            <a:xfrm rot="10800000">
              <a:off x="2647710" y="3029948"/>
              <a:ext cx="397266" cy="235388"/>
            </a:xfrm>
            <a:prstGeom prst="triangle">
              <a:avLst>
                <a:gd name="adj" fmla="val 0"/>
              </a:avLst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7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7" name="Rectangle: Rounded Corners 186">
              <a:extLst>
                <a:ext uri="{FF2B5EF4-FFF2-40B4-BE49-F238E27FC236}">
                  <a16:creationId xmlns:a16="http://schemas.microsoft.com/office/drawing/2014/main" id="{E732BEDE-42CB-48DE-904D-EE1F1F157451}"/>
                </a:ext>
              </a:extLst>
            </p:cNvPr>
            <p:cNvSpPr/>
            <p:nvPr/>
          </p:nvSpPr>
          <p:spPr>
            <a:xfrm>
              <a:off x="1490031" y="2013952"/>
              <a:ext cx="1848355" cy="1041249"/>
            </a:xfrm>
            <a:prstGeom prst="roundRect">
              <a:avLst>
                <a:gd name="adj" fmla="val 3556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kern="0" dirty="0">
                <a:solidFill>
                  <a:prstClr val="white"/>
                </a:solidFill>
                <a:latin typeface="Calibri" panose="020F0502020204030204"/>
                <a:cs typeface="Arial"/>
              </a:endParaRPr>
            </a:p>
          </p:txBody>
        </p:sp>
      </p:grpSp>
      <p:sp>
        <p:nvSpPr>
          <p:cNvPr id="188" name="Rectangle 187">
            <a:extLst>
              <a:ext uri="{FF2B5EF4-FFF2-40B4-BE49-F238E27FC236}">
                <a16:creationId xmlns:a16="http://schemas.microsoft.com/office/drawing/2014/main" id="{15BCDEB0-FB75-4AF5-851A-6985B4A2EBFF}"/>
              </a:ext>
            </a:extLst>
          </p:cNvPr>
          <p:cNvSpPr/>
          <p:nvPr/>
        </p:nvSpPr>
        <p:spPr>
          <a:xfrm>
            <a:off x="1223699" y="5157192"/>
            <a:ext cx="1648279" cy="1013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130000"/>
              </a:lnSpc>
              <a:defRPr/>
            </a:pPr>
            <a:r>
              <a:rPr lang="es-ES" sz="1100" b="1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CTUBRE</a:t>
            </a:r>
            <a:endParaRPr lang="id-ID" sz="1100" b="1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defTabSz="914377">
              <a:lnSpc>
                <a:spcPct val="130000"/>
              </a:lnSpc>
              <a:defRPr/>
            </a:pPr>
            <a:r>
              <a:rPr lang="es-E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esentación formal de la propuesta del Plan España Puede</a:t>
            </a:r>
          </a:p>
          <a:p>
            <a:pPr defTabSz="914377">
              <a:lnSpc>
                <a:spcPct val="130000"/>
              </a:lnSpc>
              <a:defRPr/>
            </a:pPr>
            <a:endParaRPr lang="en-US" sz="900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8C6ADB16-658D-48DE-BBD2-BC525F47BEF4}"/>
              </a:ext>
            </a:extLst>
          </p:cNvPr>
          <p:cNvGrpSpPr/>
          <p:nvPr/>
        </p:nvGrpSpPr>
        <p:grpSpPr>
          <a:xfrm flipH="1" flipV="1">
            <a:off x="4143864" y="4150881"/>
            <a:ext cx="1848355" cy="1393991"/>
            <a:chOff x="1490031" y="2013952"/>
            <a:chExt cx="1848355" cy="1269496"/>
          </a:xfrm>
          <a:solidFill>
            <a:schemeClr val="accent1"/>
          </a:solidFill>
        </p:grpSpPr>
        <p:sp>
          <p:nvSpPr>
            <p:cNvPr id="193" name="Isosceles Triangle 192">
              <a:extLst>
                <a:ext uri="{FF2B5EF4-FFF2-40B4-BE49-F238E27FC236}">
                  <a16:creationId xmlns:a16="http://schemas.microsoft.com/office/drawing/2014/main" id="{893F18E9-EAFC-4160-95CA-8EB7A29C54DC}"/>
                </a:ext>
              </a:extLst>
            </p:cNvPr>
            <p:cNvSpPr/>
            <p:nvPr/>
          </p:nvSpPr>
          <p:spPr bwMode="auto">
            <a:xfrm rot="10800000">
              <a:off x="1703864" y="3048060"/>
              <a:ext cx="397266" cy="235388"/>
            </a:xfrm>
            <a:prstGeom prst="triangle">
              <a:avLst>
                <a:gd name="adj" fmla="val 100000"/>
              </a:avLst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7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4" name="Rectangle: Rounded Corners 193">
              <a:extLst>
                <a:ext uri="{FF2B5EF4-FFF2-40B4-BE49-F238E27FC236}">
                  <a16:creationId xmlns:a16="http://schemas.microsoft.com/office/drawing/2014/main" id="{BBA0A3AF-CED6-45DD-BDF7-817E48F64326}"/>
                </a:ext>
              </a:extLst>
            </p:cNvPr>
            <p:cNvSpPr/>
            <p:nvPr/>
          </p:nvSpPr>
          <p:spPr>
            <a:xfrm>
              <a:off x="1490031" y="2013952"/>
              <a:ext cx="1848355" cy="1041249"/>
            </a:xfrm>
            <a:prstGeom prst="roundRect">
              <a:avLst>
                <a:gd name="adj" fmla="val 3556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kern="0" dirty="0">
                <a:solidFill>
                  <a:prstClr val="white"/>
                </a:solidFill>
                <a:latin typeface="Calibri" panose="020F0502020204030204"/>
                <a:cs typeface="Arial"/>
              </a:endParaRPr>
            </a:p>
          </p:txBody>
        </p:sp>
      </p:grpSp>
      <p:sp>
        <p:nvSpPr>
          <p:cNvPr id="192" name="Rectangle 191">
            <a:extLst>
              <a:ext uri="{FF2B5EF4-FFF2-40B4-BE49-F238E27FC236}">
                <a16:creationId xmlns:a16="http://schemas.microsoft.com/office/drawing/2014/main" id="{8D623A04-7766-40DE-BAC0-4D93CC691D57}"/>
              </a:ext>
            </a:extLst>
          </p:cNvPr>
          <p:cNvSpPr/>
          <p:nvPr/>
        </p:nvSpPr>
        <p:spPr>
          <a:xfrm>
            <a:off x="4181085" y="4594727"/>
            <a:ext cx="1825155" cy="6537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lnSpc>
                <a:spcPct val="130000"/>
              </a:lnSpc>
              <a:defRPr/>
            </a:pPr>
            <a:r>
              <a:rPr lang="es-ES" sz="1100" b="1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CIEMBRE </a:t>
            </a:r>
            <a:endParaRPr lang="id-ID" sz="1100" b="1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defTabSz="914377">
              <a:lnSpc>
                <a:spcPct val="130000"/>
              </a:lnSpc>
              <a:defRPr/>
            </a:pPr>
            <a:endParaRPr lang="en-US" sz="900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 defTabSz="914377">
              <a:lnSpc>
                <a:spcPct val="130000"/>
              </a:lnSpc>
              <a:defRPr/>
            </a:pP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GE</a:t>
            </a:r>
          </a:p>
        </p:txBody>
      </p: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5C602C94-FB16-4CC1-8F0A-9079CDC1DF95}"/>
              </a:ext>
            </a:extLst>
          </p:cNvPr>
          <p:cNvGrpSpPr/>
          <p:nvPr/>
        </p:nvGrpSpPr>
        <p:grpSpPr>
          <a:xfrm>
            <a:off x="4214765" y="2404489"/>
            <a:ext cx="1848355" cy="1268779"/>
            <a:chOff x="1490031" y="2013952"/>
            <a:chExt cx="1848355" cy="1268778"/>
          </a:xfrm>
          <a:solidFill>
            <a:schemeClr val="bg1">
              <a:lumMod val="50000"/>
            </a:schemeClr>
          </a:solidFill>
        </p:grpSpPr>
        <p:sp>
          <p:nvSpPr>
            <p:cNvPr id="199" name="Isosceles Triangle 198">
              <a:extLst>
                <a:ext uri="{FF2B5EF4-FFF2-40B4-BE49-F238E27FC236}">
                  <a16:creationId xmlns:a16="http://schemas.microsoft.com/office/drawing/2014/main" id="{51331E7D-AC18-4F83-98D9-ADF8981C9F9C}"/>
                </a:ext>
              </a:extLst>
            </p:cNvPr>
            <p:cNvSpPr/>
            <p:nvPr/>
          </p:nvSpPr>
          <p:spPr bwMode="auto">
            <a:xfrm rot="10800000">
              <a:off x="1735947" y="3047342"/>
              <a:ext cx="397266" cy="235388"/>
            </a:xfrm>
            <a:prstGeom prst="triangle">
              <a:avLst>
                <a:gd name="adj" fmla="val 90348"/>
              </a:avLst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7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0" name="Rectangle: Rounded Corners 199">
              <a:extLst>
                <a:ext uri="{FF2B5EF4-FFF2-40B4-BE49-F238E27FC236}">
                  <a16:creationId xmlns:a16="http://schemas.microsoft.com/office/drawing/2014/main" id="{B1592153-EF50-4E27-B044-A21ADE81629C}"/>
                </a:ext>
              </a:extLst>
            </p:cNvPr>
            <p:cNvSpPr/>
            <p:nvPr/>
          </p:nvSpPr>
          <p:spPr>
            <a:xfrm>
              <a:off x="1490031" y="2013952"/>
              <a:ext cx="1848355" cy="1041249"/>
            </a:xfrm>
            <a:prstGeom prst="roundRect">
              <a:avLst>
                <a:gd name="adj" fmla="val 3556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kern="0" dirty="0">
                <a:solidFill>
                  <a:prstClr val="white"/>
                </a:solidFill>
                <a:latin typeface="Calibri" panose="020F0502020204030204"/>
                <a:cs typeface="Arial"/>
              </a:endParaRPr>
            </a:p>
          </p:txBody>
        </p:sp>
      </p:grpSp>
      <p:sp>
        <p:nvSpPr>
          <p:cNvPr id="198" name="Rectangle 197">
            <a:extLst>
              <a:ext uri="{FF2B5EF4-FFF2-40B4-BE49-F238E27FC236}">
                <a16:creationId xmlns:a16="http://schemas.microsoft.com/office/drawing/2014/main" id="{CD81D238-33F2-4AB7-AEE4-EAFA86C3754B}"/>
              </a:ext>
            </a:extLst>
          </p:cNvPr>
          <p:cNvSpPr/>
          <p:nvPr/>
        </p:nvSpPr>
        <p:spPr>
          <a:xfrm>
            <a:off x="4238620" y="2401559"/>
            <a:ext cx="1756445" cy="653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130000"/>
              </a:lnSpc>
              <a:defRPr/>
            </a:pPr>
            <a:r>
              <a:rPr lang="es-ES" sz="1100" b="1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CIEMBRE</a:t>
            </a:r>
            <a:endParaRPr lang="id-ID" sz="1100" b="1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defTabSz="914377">
              <a:lnSpc>
                <a:spcPct val="130000"/>
              </a:lnSpc>
              <a:defRPr/>
            </a:pP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ublicación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eal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creto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Ley de 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implificación</a:t>
            </a:r>
            <a:endParaRPr lang="en-US" sz="900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01CE9443-D2E2-45B2-9AFC-93F001B2D5CA}"/>
              </a:ext>
            </a:extLst>
          </p:cNvPr>
          <p:cNvGrpSpPr/>
          <p:nvPr/>
        </p:nvGrpSpPr>
        <p:grpSpPr>
          <a:xfrm flipH="1" flipV="1">
            <a:off x="7515312" y="4700651"/>
            <a:ext cx="1848355" cy="1423847"/>
            <a:chOff x="1490031" y="2013952"/>
            <a:chExt cx="1848355" cy="1251384"/>
          </a:xfrm>
          <a:solidFill>
            <a:schemeClr val="bg1">
              <a:lumMod val="50000"/>
            </a:schemeClr>
          </a:solidFill>
        </p:grpSpPr>
        <p:sp>
          <p:nvSpPr>
            <p:cNvPr id="206" name="Isosceles Triangle 205">
              <a:extLst>
                <a:ext uri="{FF2B5EF4-FFF2-40B4-BE49-F238E27FC236}">
                  <a16:creationId xmlns:a16="http://schemas.microsoft.com/office/drawing/2014/main" id="{3CF01ABC-E657-475E-B381-24F41878A96F}"/>
                </a:ext>
              </a:extLst>
            </p:cNvPr>
            <p:cNvSpPr/>
            <p:nvPr/>
          </p:nvSpPr>
          <p:spPr bwMode="auto">
            <a:xfrm rot="10800000">
              <a:off x="2016943" y="3029948"/>
              <a:ext cx="397266" cy="235388"/>
            </a:xfrm>
            <a:prstGeom prst="triangle">
              <a:avLst>
                <a:gd name="adj" fmla="val 100000"/>
              </a:avLst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7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Rectangle: Rounded Corners 206">
              <a:extLst>
                <a:ext uri="{FF2B5EF4-FFF2-40B4-BE49-F238E27FC236}">
                  <a16:creationId xmlns:a16="http://schemas.microsoft.com/office/drawing/2014/main" id="{CCC6FF41-622E-4DE8-B492-54852EB77AB0}"/>
                </a:ext>
              </a:extLst>
            </p:cNvPr>
            <p:cNvSpPr/>
            <p:nvPr/>
          </p:nvSpPr>
          <p:spPr>
            <a:xfrm>
              <a:off x="1490031" y="2013952"/>
              <a:ext cx="1848355" cy="1041249"/>
            </a:xfrm>
            <a:prstGeom prst="roundRect">
              <a:avLst>
                <a:gd name="adj" fmla="val 3556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kern="0" dirty="0">
                <a:solidFill>
                  <a:prstClr val="white"/>
                </a:solidFill>
                <a:latin typeface="Calibri" panose="020F0502020204030204"/>
                <a:cs typeface="Arial"/>
              </a:endParaRPr>
            </a:p>
          </p:txBody>
        </p:sp>
      </p:grpSp>
      <p:sp>
        <p:nvSpPr>
          <p:cNvPr id="205" name="Rectangle 204">
            <a:extLst>
              <a:ext uri="{FF2B5EF4-FFF2-40B4-BE49-F238E27FC236}">
                <a16:creationId xmlns:a16="http://schemas.microsoft.com/office/drawing/2014/main" id="{10AE5A9E-D5D3-42DD-A840-93C2409FD086}"/>
              </a:ext>
            </a:extLst>
          </p:cNvPr>
          <p:cNvSpPr/>
          <p:nvPr/>
        </p:nvSpPr>
        <p:spPr>
          <a:xfrm>
            <a:off x="7620290" y="5038708"/>
            <a:ext cx="1648279" cy="836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130000"/>
              </a:lnSpc>
              <a:defRPr/>
            </a:pPr>
            <a:r>
              <a:rPr lang="es-ES" sz="1100" b="1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RIL 21</a:t>
            </a:r>
            <a:endParaRPr lang="id-ID" sz="1100" b="1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defTabSz="914377">
              <a:lnSpc>
                <a:spcPct val="130000"/>
              </a:lnSpc>
              <a:defRPr/>
            </a:pP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vío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formal del Plan España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uede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 la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msisión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uropea</a:t>
            </a:r>
            <a:endParaRPr lang="en-US" sz="900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4BD06780-759C-474B-8A44-159946238899}"/>
              </a:ext>
            </a:extLst>
          </p:cNvPr>
          <p:cNvGrpSpPr/>
          <p:nvPr/>
        </p:nvGrpSpPr>
        <p:grpSpPr>
          <a:xfrm>
            <a:off x="7300305" y="2408979"/>
            <a:ext cx="1848355" cy="1251384"/>
            <a:chOff x="1490031" y="2013952"/>
            <a:chExt cx="1848355" cy="1251384"/>
          </a:xfrm>
          <a:solidFill>
            <a:schemeClr val="accent1"/>
          </a:solidFill>
        </p:grpSpPr>
        <p:sp>
          <p:nvSpPr>
            <p:cNvPr id="211" name="Isosceles Triangle 210">
              <a:extLst>
                <a:ext uri="{FF2B5EF4-FFF2-40B4-BE49-F238E27FC236}">
                  <a16:creationId xmlns:a16="http://schemas.microsoft.com/office/drawing/2014/main" id="{BD44AE4C-CE22-441E-A0D4-22393C944298}"/>
                </a:ext>
              </a:extLst>
            </p:cNvPr>
            <p:cNvSpPr/>
            <p:nvPr/>
          </p:nvSpPr>
          <p:spPr bwMode="auto">
            <a:xfrm rot="10800000">
              <a:off x="1636645" y="3029948"/>
              <a:ext cx="397266" cy="235388"/>
            </a:xfrm>
            <a:prstGeom prst="triangle">
              <a:avLst>
                <a:gd name="adj" fmla="val 100000"/>
              </a:avLst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7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2" name="Rectangle: Rounded Corners 211">
              <a:extLst>
                <a:ext uri="{FF2B5EF4-FFF2-40B4-BE49-F238E27FC236}">
                  <a16:creationId xmlns:a16="http://schemas.microsoft.com/office/drawing/2014/main" id="{6ED1FECB-C426-4ED0-A433-FB08BC9E31A6}"/>
                </a:ext>
              </a:extLst>
            </p:cNvPr>
            <p:cNvSpPr/>
            <p:nvPr/>
          </p:nvSpPr>
          <p:spPr>
            <a:xfrm>
              <a:off x="1490031" y="2013952"/>
              <a:ext cx="1848355" cy="1041249"/>
            </a:xfrm>
            <a:prstGeom prst="roundRect">
              <a:avLst>
                <a:gd name="adj" fmla="val 3556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kern="0" dirty="0">
                <a:solidFill>
                  <a:prstClr val="white"/>
                </a:solidFill>
                <a:latin typeface="Calibri" panose="020F0502020204030204"/>
                <a:cs typeface="Arial"/>
              </a:endParaRPr>
            </a:p>
          </p:txBody>
        </p:sp>
      </p:grpSp>
      <p:sp>
        <p:nvSpPr>
          <p:cNvPr id="210" name="Rectangle 209">
            <a:extLst>
              <a:ext uri="{FF2B5EF4-FFF2-40B4-BE49-F238E27FC236}">
                <a16:creationId xmlns:a16="http://schemas.microsoft.com/office/drawing/2014/main" id="{02E2B79E-47C5-464E-B628-EC124B3AF471}"/>
              </a:ext>
            </a:extLst>
          </p:cNvPr>
          <p:cNvSpPr/>
          <p:nvPr/>
        </p:nvSpPr>
        <p:spPr>
          <a:xfrm>
            <a:off x="7328349" y="2434447"/>
            <a:ext cx="1783719" cy="653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130000"/>
              </a:lnSpc>
              <a:defRPr/>
            </a:pPr>
            <a:r>
              <a:rPr lang="es-ES" sz="1100" b="1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BRIL 21</a:t>
            </a:r>
            <a:endParaRPr lang="id-ID" sz="1100" b="1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defTabSz="914377">
              <a:lnSpc>
                <a:spcPct val="130000"/>
              </a:lnSpc>
              <a:defRPr/>
            </a:pP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ublicación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el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ecreto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Ley de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implificación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e la GVA</a:t>
            </a:r>
          </a:p>
        </p:txBody>
      </p:sp>
      <p:sp>
        <p:nvSpPr>
          <p:cNvPr id="98" name="Oval 166">
            <a:extLst>
              <a:ext uri="{FF2B5EF4-FFF2-40B4-BE49-F238E27FC236}">
                <a16:creationId xmlns:a16="http://schemas.microsoft.com/office/drawing/2014/main" id="{13DF1FCD-F2B4-46DB-8C8C-876E7D9BAE99}"/>
              </a:ext>
            </a:extLst>
          </p:cNvPr>
          <p:cNvSpPr/>
          <p:nvPr/>
        </p:nvSpPr>
        <p:spPr>
          <a:xfrm>
            <a:off x="10689014" y="3537054"/>
            <a:ext cx="154479" cy="154479"/>
          </a:xfrm>
          <a:prstGeom prst="ellipse">
            <a:avLst/>
          </a:prstGeom>
          <a:solidFill>
            <a:schemeClr val="bg1">
              <a:lumMod val="65000"/>
            </a:schemeClr>
          </a:solidFill>
          <a:ln w="381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>
              <a:solidFill>
                <a:prstClr val="white"/>
              </a:solidFill>
              <a:latin typeface="Calibri" panose="020F0502020204030204"/>
              <a:cs typeface="Arial"/>
            </a:endParaRPr>
          </a:p>
        </p:txBody>
      </p:sp>
      <p:grpSp>
        <p:nvGrpSpPr>
          <p:cNvPr id="99" name="Group 208">
            <a:extLst>
              <a:ext uri="{FF2B5EF4-FFF2-40B4-BE49-F238E27FC236}">
                <a16:creationId xmlns:a16="http://schemas.microsoft.com/office/drawing/2014/main" id="{CD3CDCA9-2143-4F07-9F3A-881C4F28CD0C}"/>
              </a:ext>
            </a:extLst>
          </p:cNvPr>
          <p:cNvGrpSpPr/>
          <p:nvPr/>
        </p:nvGrpSpPr>
        <p:grpSpPr>
          <a:xfrm>
            <a:off x="9614881" y="2202866"/>
            <a:ext cx="1848355" cy="1260997"/>
            <a:chOff x="1533523" y="2297079"/>
            <a:chExt cx="1848355" cy="1260997"/>
          </a:xfrm>
          <a:solidFill>
            <a:schemeClr val="bg1">
              <a:lumMod val="50000"/>
            </a:schemeClr>
          </a:solidFill>
        </p:grpSpPr>
        <p:sp>
          <p:nvSpPr>
            <p:cNvPr id="100" name="Isosceles Triangle 210">
              <a:extLst>
                <a:ext uri="{FF2B5EF4-FFF2-40B4-BE49-F238E27FC236}">
                  <a16:creationId xmlns:a16="http://schemas.microsoft.com/office/drawing/2014/main" id="{1BEA17DC-3457-44BC-AFDA-F7E5AA84FEE0}"/>
                </a:ext>
              </a:extLst>
            </p:cNvPr>
            <p:cNvSpPr/>
            <p:nvPr/>
          </p:nvSpPr>
          <p:spPr bwMode="auto">
            <a:xfrm rot="10800000">
              <a:off x="2367216" y="3322688"/>
              <a:ext cx="397266" cy="235388"/>
            </a:xfrm>
            <a:prstGeom prst="triangle">
              <a:avLst>
                <a:gd name="adj" fmla="val 32959"/>
              </a:avLst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7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b="1">
                <a:solidFill>
                  <a:srgbClr val="00279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Rectangle: Rounded Corners 211">
              <a:extLst>
                <a:ext uri="{FF2B5EF4-FFF2-40B4-BE49-F238E27FC236}">
                  <a16:creationId xmlns:a16="http://schemas.microsoft.com/office/drawing/2014/main" id="{CECD3207-068C-45ED-AB4B-647246E3546A}"/>
                </a:ext>
              </a:extLst>
            </p:cNvPr>
            <p:cNvSpPr/>
            <p:nvPr/>
          </p:nvSpPr>
          <p:spPr>
            <a:xfrm>
              <a:off x="1533523" y="2297079"/>
              <a:ext cx="1848355" cy="1041249"/>
            </a:xfrm>
            <a:prstGeom prst="roundRect">
              <a:avLst>
                <a:gd name="adj" fmla="val 3556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kern="0" dirty="0">
                <a:solidFill>
                  <a:prstClr val="white"/>
                </a:solidFill>
                <a:latin typeface="Calibri" panose="020F0502020204030204"/>
                <a:cs typeface="Arial"/>
              </a:endParaRPr>
            </a:p>
          </p:txBody>
        </p:sp>
      </p:grpSp>
      <p:sp>
        <p:nvSpPr>
          <p:cNvPr id="102" name="Rectangle 209">
            <a:extLst>
              <a:ext uri="{FF2B5EF4-FFF2-40B4-BE49-F238E27FC236}">
                <a16:creationId xmlns:a16="http://schemas.microsoft.com/office/drawing/2014/main" id="{7425349C-B794-4046-B1BD-B1D754F2539F}"/>
              </a:ext>
            </a:extLst>
          </p:cNvPr>
          <p:cNvSpPr/>
          <p:nvPr/>
        </p:nvSpPr>
        <p:spPr>
          <a:xfrm>
            <a:off x="9678059" y="2241747"/>
            <a:ext cx="1665573" cy="833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130000"/>
              </a:lnSpc>
              <a:defRPr/>
            </a:pPr>
            <a:r>
              <a:rPr lang="es-ES" sz="1100" b="1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JULIO 21</a:t>
            </a:r>
            <a:endParaRPr lang="id-ID" sz="1100" b="1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defTabSz="914377">
              <a:lnSpc>
                <a:spcPct val="130000"/>
              </a:lnSpc>
              <a:defRPr/>
            </a:pP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probación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lan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paña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uede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icio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e la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ovilización</a:t>
            </a:r>
            <a:r>
              <a:rPr lang="en-US" sz="900" kern="0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e </a:t>
            </a:r>
            <a:r>
              <a:rPr lang="en-US" sz="900" kern="0" dirty="0" err="1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cursos</a:t>
            </a:r>
            <a:endParaRPr lang="en-US" sz="900" kern="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8" name="1 Rectángulo redondeado">
            <a:extLst>
              <a:ext uri="{FF2B5EF4-FFF2-40B4-BE49-F238E27FC236}">
                <a16:creationId xmlns:a16="http://schemas.microsoft.com/office/drawing/2014/main" id="{700E1C77-42AC-4654-88AE-6E12930E00A6}"/>
              </a:ext>
            </a:extLst>
          </p:cNvPr>
          <p:cNvSpPr/>
          <p:nvPr/>
        </p:nvSpPr>
        <p:spPr>
          <a:xfrm>
            <a:off x="917669" y="148978"/>
            <a:ext cx="6027279" cy="76808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09" name="1 Título">
            <a:extLst>
              <a:ext uri="{FF2B5EF4-FFF2-40B4-BE49-F238E27FC236}">
                <a16:creationId xmlns:a16="http://schemas.microsoft.com/office/drawing/2014/main" id="{2B11AF5C-8E53-4DEE-BFB7-211FA7DAC4F2}"/>
              </a:ext>
            </a:extLst>
          </p:cNvPr>
          <p:cNvSpPr txBox="1">
            <a:spLocks/>
          </p:cNvSpPr>
          <p:nvPr/>
        </p:nvSpPr>
        <p:spPr>
          <a:xfrm>
            <a:off x="1135279" y="94083"/>
            <a:ext cx="5472608" cy="960107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ronograma y próximos pasos</a:t>
            </a:r>
          </a:p>
        </p:txBody>
      </p:sp>
      <p:cxnSp>
        <p:nvCxnSpPr>
          <p:cNvPr id="104" name="5 Conector recto">
            <a:extLst>
              <a:ext uri="{FF2B5EF4-FFF2-40B4-BE49-F238E27FC236}">
                <a16:creationId xmlns:a16="http://schemas.microsoft.com/office/drawing/2014/main" id="{6A291338-86B6-4A0E-BEE8-A912F6EC9C4A}"/>
              </a:ext>
            </a:extLst>
          </p:cNvPr>
          <p:cNvCxnSpPr>
            <a:cxnSpLocks/>
          </p:cNvCxnSpPr>
          <p:nvPr/>
        </p:nvCxnSpPr>
        <p:spPr>
          <a:xfrm>
            <a:off x="6268825" y="644691"/>
            <a:ext cx="568382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Picture 2">
            <a:extLst>
              <a:ext uri="{FF2B5EF4-FFF2-40B4-BE49-F238E27FC236}">
                <a16:creationId xmlns:a16="http://schemas.microsoft.com/office/drawing/2014/main" id="{C4E3F8AD-BF42-4637-9A1D-3E40EB19B5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0121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60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16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750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1" dur="75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2" presetClass="entr" presetSubtype="4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750"/>
                                        <p:tgtEl>
                                          <p:spTgt spid="58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5" dur="750"/>
                                        <p:tgtEl>
                                          <p:spTgt spid="58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2" presetClass="entr" presetSubtype="1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750"/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9" dur="75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2" presetClass="entr" presetSubtype="4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750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3" dur="75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2" presetClass="entr" presetSubtype="4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750"/>
                                        <p:tgtEl>
                                          <p:spTgt spid="2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7" dur="75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2" presetClass="entr" presetSubtype="1" fill="hold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750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1" dur="75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8" presetClass="entr" presetSubtype="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4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8" presetClass="entr" presetSubtype="6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7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8" presetClass="entr" presetSubtype="6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0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8" presetClass="entr" presetSubtype="6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3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8" presetClass="entr" presetSubtype="6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6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8" presetClass="entr" presetSubtype="6" fill="hold" grpId="0" nodeType="withEffect">
                                  <p:stCondLst>
                                    <p:cond delay="4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9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0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8" presetClass="emph" presetSubtype="0" repeatCount="indefinite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Rot by="-21600000">
                                      <p:cBhvr>
                                        <p:cTn id="84" dur="400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20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8" presetClass="emph" presetSubtype="0" repeatCount="indefinite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Rot by="21600000">
                                      <p:cBhvr>
                                        <p:cTn id="89" dur="40000" fill="hold"/>
                                        <p:tgtEl>
                                          <p:spTgt spid="2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0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91" dur="3000" fill="hold"/>
                                        <p:tgtEl>
                                          <p:spTgt spid="217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92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93" dur="3000" fill="hold"/>
                                        <p:tgtEl>
                                          <p:spTgt spid="24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94" presetID="53" presetClass="entr" presetSubtype="16" fill="hold" grpId="0" nodeType="withEffect">
                                  <p:stCondLst>
                                    <p:cond delay="425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2" presetClass="entr" presetSubtype="4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750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02" dur="7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8" presetClass="entr" presetSubtype="6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0" grpId="0" animBg="1"/>
      <p:bldP spid="162" grpId="0" animBg="1"/>
      <p:bldP spid="163" grpId="0" animBg="1"/>
      <p:bldP spid="164" grpId="0" animBg="1"/>
      <p:bldP spid="165" grpId="0" animBg="1"/>
      <p:bldP spid="166" grpId="0" animBg="1"/>
      <p:bldP spid="167" grpId="0" animBg="1"/>
      <p:bldP spid="172" grpId="0"/>
      <p:bldP spid="188" grpId="0"/>
      <p:bldP spid="192" grpId="0" animBg="1"/>
      <p:bldP spid="198" grpId="0"/>
      <p:bldP spid="205" grpId="0"/>
      <p:bldP spid="210" grpId="0"/>
      <p:bldP spid="98" grpId="0" animBg="1"/>
      <p:bldP spid="10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CustomShape 1"/>
          <p:cNvSpPr/>
          <p:nvPr/>
        </p:nvSpPr>
        <p:spPr>
          <a:xfrm>
            <a:off x="0" y="0"/>
            <a:ext cx="12191040" cy="685728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012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867" spc="-1">
                <a:solidFill>
                  <a:srgbClr val="000000"/>
                </a:solidFill>
                <a:latin typeface="Calibri"/>
                <a:ea typeface="DejaVu Sans"/>
              </a:rPr>
              <a:t>l</a:t>
            </a:r>
            <a:endParaRPr lang="es-ES" sz="1867" spc="-1">
              <a:latin typeface="Arial"/>
            </a:endParaRPr>
          </a:p>
        </p:txBody>
      </p:sp>
      <p:sp>
        <p:nvSpPr>
          <p:cNvPr id="107" name="CustomShape 2"/>
          <p:cNvSpPr/>
          <p:nvPr/>
        </p:nvSpPr>
        <p:spPr>
          <a:xfrm>
            <a:off x="457440" y="1295520"/>
            <a:ext cx="7771200" cy="7377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20000" tIns="60000" rIns="120000" bIns="6000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s-ES" sz="5333" spc="-1">
                <a:solidFill>
                  <a:srgbClr val="FFFFFF"/>
                </a:solidFill>
                <a:latin typeface="Calibri"/>
              </a:rPr>
              <a:t>                        ¡GRACIAS!</a:t>
            </a:r>
            <a:endParaRPr lang="es-ES" sz="5333" spc="-1">
              <a:latin typeface="Arial"/>
            </a:endParaRPr>
          </a:p>
        </p:txBody>
      </p:sp>
      <p:sp>
        <p:nvSpPr>
          <p:cNvPr id="108" name="CustomShape 3"/>
          <p:cNvSpPr/>
          <p:nvPr/>
        </p:nvSpPr>
        <p:spPr>
          <a:xfrm>
            <a:off x="4102656" y="4208324"/>
            <a:ext cx="4232684" cy="230808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1680" tIns="45600" rIns="91680" bIns="45600">
            <a:spAutoFit/>
          </a:bodyPr>
          <a:lstStyle/>
          <a:p>
            <a:pPr>
              <a:lnSpc>
                <a:spcPct val="100000"/>
              </a:lnSpc>
            </a:pPr>
            <a:endParaRPr lang="es-ES" sz="3600" spc="-1" dirty="0"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es-ES" sz="3600" spc="-1" dirty="0">
                <a:solidFill>
                  <a:srgbClr val="FFFFFF"/>
                </a:solidFill>
                <a:latin typeface="Calibri"/>
              </a:rPr>
              <a:t>@juanangepoyatos</a:t>
            </a:r>
          </a:p>
          <a:p>
            <a:pPr>
              <a:lnSpc>
                <a:spcPct val="100000"/>
              </a:lnSpc>
            </a:pPr>
            <a:r>
              <a:rPr lang="es-ES" sz="3600" spc="-1" dirty="0">
                <a:solidFill>
                  <a:srgbClr val="FFFFFF"/>
                </a:solidFill>
                <a:latin typeface="Calibri"/>
              </a:rPr>
              <a:t>Poyatos_jua@gva.es</a:t>
            </a:r>
          </a:p>
          <a:p>
            <a:pPr>
              <a:lnSpc>
                <a:spcPct val="100000"/>
              </a:lnSpc>
            </a:pPr>
            <a:endParaRPr lang="es-ES" sz="3600" spc="-1" dirty="0">
              <a:latin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1 Título">
            <a:extLst>
              <a:ext uri="{FF2B5EF4-FFF2-40B4-BE49-F238E27FC236}">
                <a16:creationId xmlns:a16="http://schemas.microsoft.com/office/drawing/2014/main" id="{45228A94-7F9D-4A1F-8401-5DE104E7F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0026" y="-160685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PAÑA PUEDE</a:t>
            </a:r>
          </a:p>
        </p:txBody>
      </p:sp>
      <p:cxnSp>
        <p:nvCxnSpPr>
          <p:cNvPr id="36" name="5 Conector recto">
            <a:extLst>
              <a:ext uri="{FF2B5EF4-FFF2-40B4-BE49-F238E27FC236}">
                <a16:creationId xmlns:a16="http://schemas.microsoft.com/office/drawing/2014/main" id="{32711210-DDE0-4A1E-A847-239186E6F757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2">
            <a:extLst>
              <a:ext uri="{FF2B5EF4-FFF2-40B4-BE49-F238E27FC236}">
                <a16:creationId xmlns:a16="http://schemas.microsoft.com/office/drawing/2014/main" id="{BB2566EE-FA82-4EB9-B479-E3EC4631A2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FBDA9F1-4523-4753-BC87-0D1454FA6C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749" y="1074583"/>
            <a:ext cx="5932314" cy="4678517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9C129E95-1607-441D-B788-5FC2FB87C4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37063" y="2536437"/>
            <a:ext cx="6050188" cy="4321563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1E7B3D31-2118-4E60-A77B-8ADF3D835F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163988" y="-1"/>
            <a:ext cx="2028011" cy="2609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6822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6" name="Picture 2">
            <a:extLst>
              <a:ext uri="{FF2B5EF4-FFF2-40B4-BE49-F238E27FC236}">
                <a16:creationId xmlns:a16="http://schemas.microsoft.com/office/drawing/2014/main" id="{0FFE0DFC-DAB5-4F04-B9EC-9064A3E7F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8" y="18495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" name="1 Título">
            <a:extLst>
              <a:ext uri="{FF2B5EF4-FFF2-40B4-BE49-F238E27FC236}">
                <a16:creationId xmlns:a16="http://schemas.microsoft.com/office/drawing/2014/main" id="{77F9A7F4-3468-49DD-9B1F-403F788945A2}"/>
              </a:ext>
            </a:extLst>
          </p:cNvPr>
          <p:cNvSpPr txBox="1">
            <a:spLocks/>
          </p:cNvSpPr>
          <p:nvPr/>
        </p:nvSpPr>
        <p:spPr>
          <a:xfrm>
            <a:off x="900026" y="-16068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667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PAÑA PUEDE</a:t>
            </a:r>
            <a:endParaRPr lang="es-ES" sz="2667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776AB46-7289-4707-8B16-4E2B52E76FF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47997" y="906114"/>
            <a:ext cx="9348604" cy="5456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0728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6" name="Picture 2">
            <a:extLst>
              <a:ext uri="{FF2B5EF4-FFF2-40B4-BE49-F238E27FC236}">
                <a16:creationId xmlns:a16="http://schemas.microsoft.com/office/drawing/2014/main" id="{0FFE0DFC-DAB5-4F04-B9EC-9064A3E7F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8" y="18495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" name="1 Título">
            <a:extLst>
              <a:ext uri="{FF2B5EF4-FFF2-40B4-BE49-F238E27FC236}">
                <a16:creationId xmlns:a16="http://schemas.microsoft.com/office/drawing/2014/main" id="{77F9A7F4-3468-49DD-9B1F-403F788945A2}"/>
              </a:ext>
            </a:extLst>
          </p:cNvPr>
          <p:cNvSpPr txBox="1">
            <a:spLocks/>
          </p:cNvSpPr>
          <p:nvPr/>
        </p:nvSpPr>
        <p:spPr>
          <a:xfrm>
            <a:off x="900026" y="-16068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667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PAÑA PUEDE</a:t>
            </a:r>
            <a:endParaRPr lang="es-ES" sz="2667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1F555A26-9499-4573-9787-BE3A2F9767B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90675" y="1543050"/>
            <a:ext cx="9519658" cy="4040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759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1" name="Picture 14" descr="Unión Europea Regulación general de protección de datos Organización de  empresas, Visa., diverso, Servicio, logo png | PNGWing">
            <a:extLst>
              <a:ext uri="{FF2B5EF4-FFF2-40B4-BE49-F238E27FC236}">
                <a16:creationId xmlns:a16="http://schemas.microsoft.com/office/drawing/2014/main" id="{8996FEAC-0F46-4EB5-900B-D5D5BEAD9E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E6E6E6"/>
              </a:clrFrom>
              <a:clrTo>
                <a:srgbClr val="E6E6E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3875" y="839181"/>
            <a:ext cx="592262" cy="592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>
            <a:extLst>
              <a:ext uri="{FF2B5EF4-FFF2-40B4-BE49-F238E27FC236}">
                <a16:creationId xmlns:a16="http://schemas.microsoft.com/office/drawing/2014/main" id="{0FFE0DFC-DAB5-4F04-B9EC-9064A3E7F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8" y="18495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AD4C16C5-ADE2-4B15-8E3C-7578076111A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4045" y="727457"/>
            <a:ext cx="10037923" cy="6130543"/>
          </a:xfrm>
          <a:prstGeom prst="rect">
            <a:avLst/>
          </a:prstGeom>
        </p:spPr>
      </p:pic>
      <p:sp>
        <p:nvSpPr>
          <p:cNvPr id="71" name="1 Título">
            <a:extLst>
              <a:ext uri="{FF2B5EF4-FFF2-40B4-BE49-F238E27FC236}">
                <a16:creationId xmlns:a16="http://schemas.microsoft.com/office/drawing/2014/main" id="{77F9A7F4-3468-49DD-9B1F-403F788945A2}"/>
              </a:ext>
            </a:extLst>
          </p:cNvPr>
          <p:cNvSpPr txBox="1">
            <a:spLocks/>
          </p:cNvSpPr>
          <p:nvPr/>
        </p:nvSpPr>
        <p:spPr>
          <a:xfrm>
            <a:off x="900026" y="-16068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667" b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PAÑA PUEDE</a:t>
            </a:r>
            <a:endParaRPr lang="es-ES" sz="2667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44815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914535" y="50824"/>
            <a:ext cx="10594457" cy="822960"/>
          </a:xfrm>
        </p:spPr>
        <p:txBody>
          <a:bodyPr anchor="t">
            <a:noAutofit/>
          </a:bodyPr>
          <a:lstStyle/>
          <a:p>
            <a:r>
              <a:rPr lang="es-ES" sz="2400" b="1" dirty="0">
                <a:solidFill>
                  <a:schemeClr val="bg1"/>
                </a:solidFill>
              </a:rPr>
              <a:t>MARCO FINANCIERO PLURIANUAL 2021 - 2027</a:t>
            </a:r>
            <a:endParaRPr lang="es-ES_tradnl" sz="2400" b="1" dirty="0">
              <a:solidFill>
                <a:schemeClr val="bg1"/>
              </a:solidFill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1" name="Picture 14" descr="Unión Europea Regulación general de protección de datos Organización de  empresas, Visa., diverso, Servicio, logo png | PNGWing">
            <a:extLst>
              <a:ext uri="{FF2B5EF4-FFF2-40B4-BE49-F238E27FC236}">
                <a16:creationId xmlns:a16="http://schemas.microsoft.com/office/drawing/2014/main" id="{8996FEAC-0F46-4EB5-900B-D5D5BEAD9E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E6E6E6"/>
              </a:clrFrom>
              <a:clrTo>
                <a:srgbClr val="E6E6E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3875" y="839181"/>
            <a:ext cx="592262" cy="592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>
            <a:extLst>
              <a:ext uri="{FF2B5EF4-FFF2-40B4-BE49-F238E27FC236}">
                <a16:creationId xmlns:a16="http://schemas.microsoft.com/office/drawing/2014/main" id="{0FFE0DFC-DAB5-4F04-B9EC-9064A3E7F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8" y="18495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ubtítulo 5">
            <a:extLst>
              <a:ext uri="{FF2B5EF4-FFF2-40B4-BE49-F238E27FC236}">
                <a16:creationId xmlns:a16="http://schemas.microsoft.com/office/drawing/2014/main" id="{72347272-F11B-43AB-8635-88E86DD76C6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s-ES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D3040C57-3B4F-4E7B-9F74-A514E920C88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588" y="628650"/>
            <a:ext cx="8353425" cy="5600700"/>
          </a:xfrm>
          <a:prstGeom prst="rect">
            <a:avLst/>
          </a:prstGeom>
        </p:spPr>
      </p:pic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AD0E52CF-CFA1-4ABF-9D7A-9DA85CEDB7A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9672712"/>
              </p:ext>
            </p:extLst>
          </p:nvPr>
        </p:nvGraphicFramePr>
        <p:xfrm>
          <a:off x="8067130" y="355483"/>
          <a:ext cx="5375601" cy="6596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38793541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34 Rectángulo redondeado"/>
          <p:cNvSpPr/>
          <p:nvPr/>
        </p:nvSpPr>
        <p:spPr>
          <a:xfrm>
            <a:off x="9238610" y="2724920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" name="1 Rectángulo redondeado"/>
          <p:cNvSpPr/>
          <p:nvPr/>
        </p:nvSpPr>
        <p:spPr>
          <a:xfrm>
            <a:off x="1146107" y="2898792"/>
            <a:ext cx="1536171" cy="141264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2 Rectángulo redondeado"/>
          <p:cNvSpPr/>
          <p:nvPr/>
        </p:nvSpPr>
        <p:spPr>
          <a:xfrm>
            <a:off x="9241253" y="1603278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3" name="1 Título"/>
          <p:cNvSpPr txBox="1">
            <a:spLocks/>
          </p:cNvSpPr>
          <p:nvPr/>
        </p:nvSpPr>
        <p:spPr>
          <a:xfrm>
            <a:off x="1007435" y="3075419"/>
            <a:ext cx="1668016" cy="1059392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R</a:t>
            </a:r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603632" y="3888880"/>
            <a:ext cx="1380067" cy="1035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0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809" y="4578292"/>
            <a:ext cx="1469320" cy="97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 flipV="1">
            <a:off x="2652333" y="2262614"/>
            <a:ext cx="1263223" cy="973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1 Título"/>
          <p:cNvSpPr txBox="1">
            <a:spLocks/>
          </p:cNvSpPr>
          <p:nvPr/>
        </p:nvSpPr>
        <p:spPr>
          <a:xfrm>
            <a:off x="9111829" y="1616173"/>
            <a:ext cx="1728192" cy="704988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tidades Locales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4" name="1 Título"/>
          <p:cNvSpPr txBox="1">
            <a:spLocks/>
          </p:cNvSpPr>
          <p:nvPr/>
        </p:nvSpPr>
        <p:spPr>
          <a:xfrm>
            <a:off x="9076718" y="2738461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ver</a:t>
            </a: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directa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6" name="35 Rectángulo redondeado"/>
          <p:cNvSpPr/>
          <p:nvPr/>
        </p:nvSpPr>
        <p:spPr>
          <a:xfrm>
            <a:off x="9238610" y="3685027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7" name="1 Título"/>
          <p:cNvSpPr txBox="1">
            <a:spLocks/>
          </p:cNvSpPr>
          <p:nvPr/>
        </p:nvSpPr>
        <p:spPr>
          <a:xfrm>
            <a:off x="9076718" y="3698568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mpresas</a:t>
            </a: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1271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8153" y="3467172"/>
            <a:ext cx="345017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2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1449" y="2489017"/>
            <a:ext cx="218423" cy="428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3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698" y="1409005"/>
            <a:ext cx="316836" cy="316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5" name="Picture 11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499"/>
          <a:stretch/>
        </p:blipFill>
        <p:spPr bwMode="auto">
          <a:xfrm>
            <a:off x="6521274" y="1498288"/>
            <a:ext cx="357716" cy="690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1 Título"/>
          <p:cNvSpPr txBox="1">
            <a:spLocks/>
          </p:cNvSpPr>
          <p:nvPr/>
        </p:nvSpPr>
        <p:spPr>
          <a:xfrm>
            <a:off x="6813181" y="1623397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0%</a:t>
            </a: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2" name="11 Flecha derecha"/>
          <p:cNvSpPr/>
          <p:nvPr/>
        </p:nvSpPr>
        <p:spPr>
          <a:xfrm>
            <a:off x="5425668" y="1728641"/>
            <a:ext cx="960107" cy="29847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46" name="45 Flecha derecha"/>
          <p:cNvSpPr/>
          <p:nvPr/>
        </p:nvSpPr>
        <p:spPr>
          <a:xfrm>
            <a:off x="5425668" y="2646699"/>
            <a:ext cx="960107" cy="29847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11276" name="Picture 1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303" y="2653132"/>
            <a:ext cx="709655" cy="529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8" name="1 Título"/>
          <p:cNvSpPr txBox="1">
            <a:spLocks/>
          </p:cNvSpPr>
          <p:nvPr/>
        </p:nvSpPr>
        <p:spPr>
          <a:xfrm>
            <a:off x="6672065" y="2734689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0%</a:t>
            </a: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 flipV="1">
            <a:off x="8140599" y="1916004"/>
            <a:ext cx="1020349" cy="786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8129031" y="3172610"/>
            <a:ext cx="1028496" cy="771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7" name="Picture 1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8563530" y="2549842"/>
            <a:ext cx="111393" cy="723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2" name="51 Flecha derecha"/>
          <p:cNvSpPr/>
          <p:nvPr/>
        </p:nvSpPr>
        <p:spPr>
          <a:xfrm>
            <a:off x="5435225" y="4947198"/>
            <a:ext cx="960107" cy="29847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53" name="1 Título"/>
          <p:cNvSpPr txBox="1">
            <a:spLocks/>
          </p:cNvSpPr>
          <p:nvPr/>
        </p:nvSpPr>
        <p:spPr>
          <a:xfrm>
            <a:off x="6211985" y="4892471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</a:rPr>
              <a:t>80.000 M</a:t>
            </a: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54" name="53 Rectángulo redondeado"/>
          <p:cNvSpPr/>
          <p:nvPr/>
        </p:nvSpPr>
        <p:spPr>
          <a:xfrm>
            <a:off x="7817214" y="4865388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55" name="1 Título"/>
          <p:cNvSpPr txBox="1">
            <a:spLocks/>
          </p:cNvSpPr>
          <p:nvPr/>
        </p:nvSpPr>
        <p:spPr>
          <a:xfrm>
            <a:off x="7586796" y="4878929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FEE</a:t>
            </a: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1278" name="Picture 1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4916" y="4556255"/>
            <a:ext cx="464609" cy="473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34 Rectángulo redondeado">
            <a:extLst>
              <a:ext uri="{FF2B5EF4-FFF2-40B4-BE49-F238E27FC236}">
                <a16:creationId xmlns:a16="http://schemas.microsoft.com/office/drawing/2014/main" id="{5BBA1B7E-6C4C-4FCD-B0BA-164741D826D1}"/>
              </a:ext>
            </a:extLst>
          </p:cNvPr>
          <p:cNvSpPr/>
          <p:nvPr/>
        </p:nvSpPr>
        <p:spPr>
          <a:xfrm>
            <a:off x="7894213" y="6138286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40" name="Picture 13">
            <a:extLst>
              <a:ext uri="{FF2B5EF4-FFF2-40B4-BE49-F238E27FC236}">
                <a16:creationId xmlns:a16="http://schemas.microsoft.com/office/drawing/2014/main" id="{C303B2A3-7DDD-4767-ADB0-28A992760E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766" y="5381584"/>
            <a:ext cx="111393" cy="723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1 Título">
            <a:extLst>
              <a:ext uri="{FF2B5EF4-FFF2-40B4-BE49-F238E27FC236}">
                <a16:creationId xmlns:a16="http://schemas.microsoft.com/office/drawing/2014/main" id="{6441C3B3-FFB2-4EED-83F4-0ECCD026FCC9}"/>
              </a:ext>
            </a:extLst>
          </p:cNvPr>
          <p:cNvSpPr txBox="1">
            <a:spLocks/>
          </p:cNvSpPr>
          <p:nvPr/>
        </p:nvSpPr>
        <p:spPr>
          <a:xfrm>
            <a:off x="7691538" y="6130971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lianzas</a:t>
            </a: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026" name="Picture 2" descr="Mapa Excel de Europa - Análisis y Decisión">
            <a:extLst>
              <a:ext uri="{FF2B5EF4-FFF2-40B4-BE49-F238E27FC236}">
                <a16:creationId xmlns:a16="http://schemas.microsoft.com/office/drawing/2014/main" id="{8D46A818-65B2-4B9C-A482-54A3CEA11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4236" y="6057104"/>
            <a:ext cx="613371" cy="642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1 Título">
            <a:extLst>
              <a:ext uri="{FF2B5EF4-FFF2-40B4-BE49-F238E27FC236}">
                <a16:creationId xmlns:a16="http://schemas.microsoft.com/office/drawing/2014/main" id="{09789E6D-1BEA-43FA-878B-677AF0C75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903" y="-148287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JECUCIÓN DE LA </a:t>
            </a:r>
            <a:r>
              <a:rPr lang="es-ES" sz="2667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R</a:t>
            </a:r>
          </a:p>
        </p:txBody>
      </p:sp>
      <p:cxnSp>
        <p:nvCxnSpPr>
          <p:cNvPr id="43" name="5 Conector recto">
            <a:extLst>
              <a:ext uri="{FF2B5EF4-FFF2-40B4-BE49-F238E27FC236}">
                <a16:creationId xmlns:a16="http://schemas.microsoft.com/office/drawing/2014/main" id="{A66C880A-EE9E-444A-9910-4BA33DBB13DB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2">
            <a:extLst>
              <a:ext uri="{FF2B5EF4-FFF2-40B4-BE49-F238E27FC236}">
                <a16:creationId xmlns:a16="http://schemas.microsoft.com/office/drawing/2014/main" id="{67A28CFD-6CF8-4B48-B39D-65C821F42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13">
            <a:extLst>
              <a:ext uri="{FF2B5EF4-FFF2-40B4-BE49-F238E27FC236}">
                <a16:creationId xmlns:a16="http://schemas.microsoft.com/office/drawing/2014/main" id="{E90A53B8-2044-449D-9022-259AD49E26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8434724" y="1425975"/>
            <a:ext cx="111393" cy="723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" name="1 Título">
            <a:extLst>
              <a:ext uri="{FF2B5EF4-FFF2-40B4-BE49-F238E27FC236}">
                <a16:creationId xmlns:a16="http://schemas.microsoft.com/office/drawing/2014/main" id="{C7A36C40-6632-4575-A0E1-55AB0E61E28B}"/>
              </a:ext>
            </a:extLst>
          </p:cNvPr>
          <p:cNvSpPr txBox="1">
            <a:spLocks/>
          </p:cNvSpPr>
          <p:nvPr/>
        </p:nvSpPr>
        <p:spPr>
          <a:xfrm>
            <a:off x="10516668" y="1618645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%</a:t>
            </a: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51" name="Imagen 50">
            <a:extLst>
              <a:ext uri="{FF2B5EF4-FFF2-40B4-BE49-F238E27FC236}">
                <a16:creationId xmlns:a16="http://schemas.microsoft.com/office/drawing/2014/main" id="{3CC01B4C-0DC3-4990-BCB4-9DC84EF4424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11191" y="1587104"/>
            <a:ext cx="1574894" cy="145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9770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1 Título">
            <a:extLst>
              <a:ext uri="{FF2B5EF4-FFF2-40B4-BE49-F238E27FC236}">
                <a16:creationId xmlns:a16="http://schemas.microsoft.com/office/drawing/2014/main" id="{09789E6D-1BEA-43FA-878B-677AF0C75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903" y="-148287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JECUCIÓN DE LA </a:t>
            </a:r>
            <a:r>
              <a:rPr lang="es-ES" sz="2667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VR</a:t>
            </a:r>
          </a:p>
        </p:txBody>
      </p:sp>
      <p:cxnSp>
        <p:nvCxnSpPr>
          <p:cNvPr id="43" name="5 Conector recto">
            <a:extLst>
              <a:ext uri="{FF2B5EF4-FFF2-40B4-BE49-F238E27FC236}">
                <a16:creationId xmlns:a16="http://schemas.microsoft.com/office/drawing/2014/main" id="{A66C880A-EE9E-444A-9910-4BA33DBB13DB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2">
            <a:extLst>
              <a:ext uri="{FF2B5EF4-FFF2-40B4-BE49-F238E27FC236}">
                <a16:creationId xmlns:a16="http://schemas.microsoft.com/office/drawing/2014/main" id="{67A28CFD-6CF8-4B48-B39D-65C821F42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6" name="Imagen 55" descr="Tabla&#10;&#10;Descripción generada automáticamente">
            <a:extLst>
              <a:ext uri="{FF2B5EF4-FFF2-40B4-BE49-F238E27FC236}">
                <a16:creationId xmlns:a16="http://schemas.microsoft.com/office/drawing/2014/main" id="{DAEC9BC5-A723-45C2-B081-B28DB7EDB0CD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7" t="14706" r="1858"/>
          <a:stretch/>
        </p:blipFill>
        <p:spPr bwMode="auto">
          <a:xfrm>
            <a:off x="1276349" y="830031"/>
            <a:ext cx="9305925" cy="609462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263467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heme/theme1.xml><?xml version="1.0" encoding="utf-8"?>
<a:theme xmlns:a="http://schemas.openxmlformats.org/drawingml/2006/main" name="Metropolitana">
  <a:themeElements>
    <a:clrScheme name="Adyacencia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Metropolitana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a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78</TotalTime>
  <Words>593</Words>
  <Application>Microsoft Office PowerPoint</Application>
  <PresentationFormat>Panorámica</PresentationFormat>
  <Paragraphs>138</Paragraphs>
  <Slides>22</Slides>
  <Notes>15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32" baseType="lpstr">
      <vt:lpstr>Arial</vt:lpstr>
      <vt:lpstr>Bradley Hand ITC</vt:lpstr>
      <vt:lpstr>Calibri</vt:lpstr>
      <vt:lpstr>Calibri Light</vt:lpstr>
      <vt:lpstr>Georgia</vt:lpstr>
      <vt:lpstr>Lucida Sans</vt:lpstr>
      <vt:lpstr>Roboto</vt:lpstr>
      <vt:lpstr>Wingdings</vt:lpstr>
      <vt:lpstr>Metropolitana</vt:lpstr>
      <vt:lpstr>Diapositiva de think-cell</vt:lpstr>
      <vt:lpstr>Presentación de PowerPoint</vt:lpstr>
      <vt:lpstr>OBJETIVOS NEXT GENERATION EU</vt:lpstr>
      <vt:lpstr>ESPAÑA PUEDE</vt:lpstr>
      <vt:lpstr>Presentación de PowerPoint</vt:lpstr>
      <vt:lpstr>Presentación de PowerPoint</vt:lpstr>
      <vt:lpstr>Presentación de PowerPoint</vt:lpstr>
      <vt:lpstr>MARCO FINANCIERO PLURIANUAL 2021 - 2027</vt:lpstr>
      <vt:lpstr>EJECUCIÓN DE LA EVR</vt:lpstr>
      <vt:lpstr>EJECUCIÓN DE LA EVR</vt:lpstr>
      <vt:lpstr>EJECUCIÓN DE LA EVR: DE 14 A 22 PROYECTOS TRACTORES </vt:lpstr>
      <vt:lpstr>Presentación de PowerPoint</vt:lpstr>
      <vt:lpstr>EJECUCIÓN DE LA EVR: Manifestaciones de Interés</vt:lpstr>
      <vt:lpstr>EJECUCIÓN DE LA EVR: Manifestaciones de Interés</vt:lpstr>
      <vt:lpstr>Presentación de PowerPoint</vt:lpstr>
      <vt:lpstr>Presentación de PowerPoint</vt:lpstr>
      <vt:lpstr>EJECUCIÓN DE LA EVR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ficina Valenciana de Evaluación</dc:title>
  <dc:creator>Pedro Martinez Aparicio</dc:creator>
  <cp:lastModifiedBy>POYATOS LEÓN, JUAN ÁNGEL</cp:lastModifiedBy>
  <cp:revision>550</cp:revision>
  <cp:lastPrinted>2020-10-01T10:50:09Z</cp:lastPrinted>
  <dcterms:created xsi:type="dcterms:W3CDTF">2016-12-21T07:48:34Z</dcterms:created>
  <dcterms:modified xsi:type="dcterms:W3CDTF">2021-06-22T07:44:06Z</dcterms:modified>
</cp:coreProperties>
</file>